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8" r:id="rId4"/>
    <p:sldMasterId id="2147483702" r:id="rId5"/>
    <p:sldMasterId id="2147483723" r:id="rId6"/>
    <p:sldMasterId id="2147483751" r:id="rId7"/>
    <p:sldMasterId id="2147483754" r:id="rId8"/>
    <p:sldMasterId id="2147483764" r:id="rId9"/>
    <p:sldMasterId id="2147483768" r:id="rId10"/>
    <p:sldMasterId id="2147483778" r:id="rId11"/>
  </p:sldMasterIdLst>
  <p:notesMasterIdLst>
    <p:notesMasterId r:id="rId57"/>
  </p:notesMasterIdLst>
  <p:handoutMasterIdLst>
    <p:handoutMasterId r:id="rId58"/>
  </p:handoutMasterIdLst>
  <p:sldIdLst>
    <p:sldId id="1382" r:id="rId12"/>
    <p:sldId id="1432" r:id="rId13"/>
    <p:sldId id="1388" r:id="rId14"/>
    <p:sldId id="1391" r:id="rId15"/>
    <p:sldId id="1392" r:id="rId16"/>
    <p:sldId id="1400" r:id="rId17"/>
    <p:sldId id="1394" r:id="rId18"/>
    <p:sldId id="1395" r:id="rId19"/>
    <p:sldId id="1435" r:id="rId20"/>
    <p:sldId id="1436" r:id="rId21"/>
    <p:sldId id="1396" r:id="rId22"/>
    <p:sldId id="1397" r:id="rId23"/>
    <p:sldId id="1398" r:id="rId24"/>
    <p:sldId id="1402" r:id="rId25"/>
    <p:sldId id="1403" r:id="rId26"/>
    <p:sldId id="1404" r:id="rId27"/>
    <p:sldId id="1405" r:id="rId28"/>
    <p:sldId id="1406" r:id="rId29"/>
    <p:sldId id="1407" r:id="rId30"/>
    <p:sldId id="1408" r:id="rId31"/>
    <p:sldId id="1409" r:id="rId32"/>
    <p:sldId id="1410" r:id="rId33"/>
    <p:sldId id="1411" r:id="rId34"/>
    <p:sldId id="1412" r:id="rId35"/>
    <p:sldId id="1438" r:id="rId36"/>
    <p:sldId id="1401" r:id="rId37"/>
    <p:sldId id="1414" r:id="rId38"/>
    <p:sldId id="1413" r:id="rId39"/>
    <p:sldId id="1415" r:id="rId40"/>
    <p:sldId id="1416" r:id="rId41"/>
    <p:sldId id="1417" r:id="rId42"/>
    <p:sldId id="1418" r:id="rId43"/>
    <p:sldId id="1419" r:id="rId44"/>
    <p:sldId id="1420" r:id="rId45"/>
    <p:sldId id="1421" r:id="rId46"/>
    <p:sldId id="1422" r:id="rId47"/>
    <p:sldId id="1423" r:id="rId48"/>
    <p:sldId id="1424" r:id="rId49"/>
    <p:sldId id="1425" r:id="rId50"/>
    <p:sldId id="1426" r:id="rId51"/>
    <p:sldId id="1427" r:id="rId52"/>
    <p:sldId id="1428" r:id="rId53"/>
    <p:sldId id="1429" r:id="rId54"/>
    <p:sldId id="1430" r:id="rId55"/>
    <p:sldId id="1434" r:id="rId56"/>
  </p:sldIdLst>
  <p:sldSz cx="12192000" cy="6858000"/>
  <p:notesSz cx="6735763" cy="9866313"/>
  <p:custDataLst>
    <p:tags r:id="rId5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48027781-9103-4C4B-A4B4-17E09E27C6E4}">
          <p14:sldIdLst>
            <p14:sldId id="1382"/>
            <p14:sldId id="1432"/>
            <p14:sldId id="1388"/>
            <p14:sldId id="1391"/>
            <p14:sldId id="1392"/>
            <p14:sldId id="1400"/>
            <p14:sldId id="1394"/>
            <p14:sldId id="1395"/>
            <p14:sldId id="1435"/>
            <p14:sldId id="1436"/>
            <p14:sldId id="1396"/>
            <p14:sldId id="1397"/>
            <p14:sldId id="1398"/>
            <p14:sldId id="1402"/>
            <p14:sldId id="1403"/>
            <p14:sldId id="1404"/>
            <p14:sldId id="1405"/>
            <p14:sldId id="1406"/>
            <p14:sldId id="1407"/>
            <p14:sldId id="1408"/>
            <p14:sldId id="1409"/>
            <p14:sldId id="1410"/>
            <p14:sldId id="1411"/>
            <p14:sldId id="1412"/>
            <p14:sldId id="1438"/>
            <p14:sldId id="1401"/>
            <p14:sldId id="1414"/>
            <p14:sldId id="1413"/>
            <p14:sldId id="1415"/>
            <p14:sldId id="1416"/>
            <p14:sldId id="1417"/>
            <p14:sldId id="1418"/>
            <p14:sldId id="1419"/>
            <p14:sldId id="1420"/>
            <p14:sldId id="1421"/>
            <p14:sldId id="1422"/>
            <p14:sldId id="1423"/>
            <p14:sldId id="1424"/>
            <p14:sldId id="1425"/>
            <p14:sldId id="1426"/>
            <p14:sldId id="1427"/>
            <p14:sldId id="1428"/>
            <p14:sldId id="1429"/>
            <p14:sldId id="1430"/>
            <p14:sldId id="14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407" userDrawn="1">
          <p15:clr>
            <a:srgbClr val="A4A3A4"/>
          </p15:clr>
        </p15:guide>
        <p15:guide id="2" pos="7287" userDrawn="1">
          <p15:clr>
            <a:srgbClr val="A4A3A4"/>
          </p15:clr>
        </p15:guide>
        <p15:guide id="3" orient="horz" pos="1457" userDrawn="1">
          <p15:clr>
            <a:srgbClr val="A4A3A4"/>
          </p15:clr>
        </p15:guide>
        <p15:guide id="4" orient="horz" pos="550" userDrawn="1">
          <p15:clr>
            <a:srgbClr val="A4A3A4"/>
          </p15:clr>
        </p15:guide>
        <p15:guide id="5" pos="1159" userDrawn="1">
          <p15:clr>
            <a:srgbClr val="A4A3A4"/>
          </p15:clr>
        </p15:guide>
        <p15:guide id="6" pos="1028" userDrawn="1">
          <p15:clr>
            <a:srgbClr val="A4A3A4"/>
          </p15:clr>
        </p15:guide>
        <p15:guide id="7" pos="109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SHIBA" initials="T" lastIdx="2" clrIdx="0">
    <p:extLst>
      <p:ext uri="{19B8F6BF-5375-455C-9EA6-DF929625EA0E}">
        <p15:presenceInfo xmlns:p15="http://schemas.microsoft.com/office/powerpoint/2012/main" userId="TOSHIBA" providerId="None"/>
      </p:ext>
    </p:extLst>
  </p:cmAuthor>
  <p:cmAuthor id="2" name="Egusquiza Caceres, Carolina (Gloria S.A.)" initials="ECC(S" lastIdx="3" clrIdx="1">
    <p:extLst>
      <p:ext uri="{19B8F6BF-5375-455C-9EA6-DF929625EA0E}">
        <p15:presenceInfo xmlns:p15="http://schemas.microsoft.com/office/powerpoint/2012/main" userId="S-1-5-21-602234756-1814372317-3751740159-73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CB"/>
    <a:srgbClr val="002060"/>
    <a:srgbClr val="808000"/>
    <a:srgbClr val="FFDD71"/>
    <a:srgbClr val="006600"/>
    <a:srgbClr val="669900"/>
    <a:srgbClr val="F1F5F9"/>
    <a:srgbClr val="FFFF66"/>
    <a:srgbClr val="FF0000"/>
    <a:srgbClr val="00A2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63E46E-56B5-41C6-946F-F8D7021BC45D}" v="13" dt="2020-03-06T19:15:26.8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6" autoAdjust="0"/>
    <p:restoredTop sz="93357" autoAdjust="0"/>
  </p:normalViewPr>
  <p:slideViewPr>
    <p:cSldViewPr snapToGrid="0">
      <p:cViewPr varScale="1">
        <p:scale>
          <a:sx n="72" d="100"/>
          <a:sy n="72" d="100"/>
        </p:scale>
        <p:origin x="864" y="72"/>
      </p:cViewPr>
      <p:guideLst>
        <p:guide orient="horz" pos="3407"/>
        <p:guide pos="7287"/>
        <p:guide orient="horz" pos="1457"/>
        <p:guide orient="horz" pos="550"/>
        <p:guide pos="1159"/>
        <p:guide pos="1028"/>
        <p:guide pos="10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ags" Target="tags/tag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commentAuthors" Target="commentAuthor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0070C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2: </a:t>
          </a:r>
          <a:r>
            <a:rPr lang="es-PE" sz="1500" dirty="0">
              <a:latin typeface="+mj-lt"/>
            </a:rPr>
            <a:t>REGISTRO EN ARIBA SOURCING</a:t>
          </a: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4: </a:t>
          </a:r>
          <a:r>
            <a:rPr lang="es-PE" sz="1500" dirty="0"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5: </a:t>
          </a:r>
          <a:r>
            <a:rPr lang="es-PE" sz="1500" dirty="0"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6: </a:t>
          </a:r>
          <a:r>
            <a:rPr lang="es-PE" sz="1500" dirty="0"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7: </a:t>
          </a:r>
          <a:r>
            <a:rPr lang="es-PE" sz="1500" dirty="0"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3: </a:t>
          </a:r>
          <a:r>
            <a:rPr lang="es-PE" sz="1500" dirty="0">
              <a:latin typeface="+mj-lt"/>
            </a:rPr>
            <a:t>PARTICIPACIÓN DE UN 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4609DD2C-810D-424B-8F26-17244480D946}" type="presOf" srcId="{DE40AF2B-3225-4CC5-A71A-34004BE0875E}" destId="{88B614A0-0567-4F2D-B2B2-F83BFA3B4526}" srcOrd="0" destOrd="0" presId="urn:microsoft.com/office/officeart/2008/layout/VerticalCurvedList"/>
    <dgm:cxn modelId="{B81AF063-1F86-4B51-92D9-23641CF53C6B}" type="presOf" srcId="{6BCE9CCE-03DD-41E5-AF05-C51C1537C7B1}" destId="{434E6F52-50E8-4101-B913-649D0D9CF636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B467F685-D6F6-44EC-9512-F79C3456790D}" type="presOf" srcId="{156DCBB4-6868-4657-8E9D-0B7EF16717EC}" destId="{7B531F08-90CC-47F3-9A72-F060C4EBFEFA}" srcOrd="0" destOrd="0" presId="urn:microsoft.com/office/officeart/2008/layout/VerticalCurvedList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AA962DC7-8893-4625-A5D3-AA1A9B18906A}" type="presOf" srcId="{D83CA26B-B79B-4BF3-B103-7BC5B3B8C86B}" destId="{8CB43088-37D2-42C0-80C6-9DE564B0B032}" srcOrd="0" destOrd="0" presId="urn:microsoft.com/office/officeart/2008/layout/VerticalCurvedList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2BA7E020-6764-4B2C-B773-77F75F1DECA6}" type="presOf" srcId="{AC214AE1-4D3D-4ACC-B4D4-280EBD06D3FB}" destId="{FAFBEBF9-3E4D-48BD-8856-0574A6E0DA32}" srcOrd="0" destOrd="0" presId="urn:microsoft.com/office/officeart/2008/layout/VerticalCurvedList"/>
    <dgm:cxn modelId="{A06A5229-077D-45CC-93C6-A2E98158B7FE}" type="presOf" srcId="{1CB3B335-E036-4DCD-B8EB-B7B4B9E434A7}" destId="{73840F37-B9C6-4693-B5A1-AFE4241D7801}" srcOrd="0" destOrd="0" presId="urn:microsoft.com/office/officeart/2008/layout/VerticalCurvedList"/>
    <dgm:cxn modelId="{551C4E7D-974B-41DD-A68A-F1A4D1CFA62A}" type="presOf" srcId="{373AD536-D984-446B-8B11-F6D93DB96E5E}" destId="{8A9F4BD1-72EA-4FA7-BBD6-86CECE20947E}" srcOrd="0" destOrd="0" presId="urn:microsoft.com/office/officeart/2008/layout/VerticalCurvedList"/>
    <dgm:cxn modelId="{94597011-A4D0-49A6-9A30-CE8056E557E6}" type="presOf" srcId="{54DB3862-5A1D-445E-931E-1A628A0296DB}" destId="{BEB6FDFA-82F6-40D8-B2D6-24F4052A9FB2}" srcOrd="0" destOrd="0" presId="urn:microsoft.com/office/officeart/2008/layout/VerticalCurvedList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4B90F81D-AF29-45E6-B5C2-D00664F2C7D7}" type="presOf" srcId="{4DD36E5E-47F8-41F5-A250-261C4908CD0E}" destId="{03D29AE1-4449-4DE3-A023-86F969CE6A3B}" srcOrd="0" destOrd="0" presId="urn:microsoft.com/office/officeart/2008/layout/VerticalCurvedList"/>
    <dgm:cxn modelId="{7429321A-DCB8-4CD8-A0C2-7DA4EDFE4894}" type="presParOf" srcId="{BEB6FDFA-82F6-40D8-B2D6-24F4052A9FB2}" destId="{B2F26DB3-2536-4B56-8AB1-ACBD9E1B2C5C}" srcOrd="0" destOrd="0" presId="urn:microsoft.com/office/officeart/2008/layout/VerticalCurvedList"/>
    <dgm:cxn modelId="{7F80F21E-9BC3-49B8-8EF1-51932EFC94A7}" type="presParOf" srcId="{B2F26DB3-2536-4B56-8AB1-ACBD9E1B2C5C}" destId="{FDE09A13-0F22-4B9D-BDE7-2EC93D43CD97}" srcOrd="0" destOrd="0" presId="urn:microsoft.com/office/officeart/2008/layout/VerticalCurvedList"/>
    <dgm:cxn modelId="{D7273DBC-611B-4819-B26C-56733388F679}" type="presParOf" srcId="{FDE09A13-0F22-4B9D-BDE7-2EC93D43CD97}" destId="{B3A3138E-38C1-4FD1-B81B-C6B723949C1D}" srcOrd="0" destOrd="0" presId="urn:microsoft.com/office/officeart/2008/layout/VerticalCurvedList"/>
    <dgm:cxn modelId="{C657343B-B809-4D23-956F-FE10C5D97AFD}" type="presParOf" srcId="{FDE09A13-0F22-4B9D-BDE7-2EC93D43CD97}" destId="{8A9F4BD1-72EA-4FA7-BBD6-86CECE20947E}" srcOrd="1" destOrd="0" presId="urn:microsoft.com/office/officeart/2008/layout/VerticalCurvedList"/>
    <dgm:cxn modelId="{58E8C51F-0A20-4D3C-B31F-E3965C24FE41}" type="presParOf" srcId="{FDE09A13-0F22-4B9D-BDE7-2EC93D43CD97}" destId="{77B226B4-5A6D-420C-9206-6586E7406D1A}" srcOrd="2" destOrd="0" presId="urn:microsoft.com/office/officeart/2008/layout/VerticalCurvedList"/>
    <dgm:cxn modelId="{22E9C00E-BC2F-4428-92F7-5C658D1DEE3F}" type="presParOf" srcId="{FDE09A13-0F22-4B9D-BDE7-2EC93D43CD97}" destId="{10917D27-9907-4CFF-804F-6F76DF6F6802}" srcOrd="3" destOrd="0" presId="urn:microsoft.com/office/officeart/2008/layout/VerticalCurvedList"/>
    <dgm:cxn modelId="{AAC93537-2EA8-43E0-8B12-7F850EA33989}" type="presParOf" srcId="{B2F26DB3-2536-4B56-8AB1-ACBD9E1B2C5C}" destId="{8CB43088-37D2-42C0-80C6-9DE564B0B032}" srcOrd="1" destOrd="0" presId="urn:microsoft.com/office/officeart/2008/layout/VerticalCurvedList"/>
    <dgm:cxn modelId="{B88BA172-39BD-4D91-A333-3C31F9AA0ED8}" type="presParOf" srcId="{B2F26DB3-2536-4B56-8AB1-ACBD9E1B2C5C}" destId="{B4480F6D-1C82-4F14-81F9-81A134869499}" srcOrd="2" destOrd="0" presId="urn:microsoft.com/office/officeart/2008/layout/VerticalCurvedList"/>
    <dgm:cxn modelId="{34F26081-C31A-4E6F-A327-424F15C997F6}" type="presParOf" srcId="{B4480F6D-1C82-4F14-81F9-81A134869499}" destId="{B20CD4B4-3291-4905-89C1-0CA8F2725B5B}" srcOrd="0" destOrd="0" presId="urn:microsoft.com/office/officeart/2008/layout/VerticalCurvedList"/>
    <dgm:cxn modelId="{A80362F3-A332-4A68-AB77-5D5E964137DB}" type="presParOf" srcId="{B2F26DB3-2536-4B56-8AB1-ACBD9E1B2C5C}" destId="{73840F37-B9C6-4693-B5A1-AFE4241D7801}" srcOrd="3" destOrd="0" presId="urn:microsoft.com/office/officeart/2008/layout/VerticalCurvedList"/>
    <dgm:cxn modelId="{A75A3EA4-5BA6-4C4E-AD88-683EB6951BFD}" type="presParOf" srcId="{B2F26DB3-2536-4B56-8AB1-ACBD9E1B2C5C}" destId="{5C61CBAF-FA16-4F3C-B10F-F4A64362E262}" srcOrd="4" destOrd="0" presId="urn:microsoft.com/office/officeart/2008/layout/VerticalCurvedList"/>
    <dgm:cxn modelId="{7170138A-2F77-4531-9020-9B0ACDE3F468}" type="presParOf" srcId="{5C61CBAF-FA16-4F3C-B10F-F4A64362E262}" destId="{B472731E-6A63-48C2-94C5-5D710CCAC4BE}" srcOrd="0" destOrd="0" presId="urn:microsoft.com/office/officeart/2008/layout/VerticalCurvedList"/>
    <dgm:cxn modelId="{1DD29D09-C156-4D77-85B7-4EC73B05D8BD}" type="presParOf" srcId="{B2F26DB3-2536-4B56-8AB1-ACBD9E1B2C5C}" destId="{434E6F52-50E8-4101-B913-649D0D9CF636}" srcOrd="5" destOrd="0" presId="urn:microsoft.com/office/officeart/2008/layout/VerticalCurvedList"/>
    <dgm:cxn modelId="{69214289-D875-43EF-BCA4-8BD82D6CB5FF}" type="presParOf" srcId="{B2F26DB3-2536-4B56-8AB1-ACBD9E1B2C5C}" destId="{377FE4C4-9645-4B0D-854C-73DB6EC23D26}" srcOrd="6" destOrd="0" presId="urn:microsoft.com/office/officeart/2008/layout/VerticalCurvedList"/>
    <dgm:cxn modelId="{29A53ACC-591C-431F-B054-DEFACA413571}" type="presParOf" srcId="{377FE4C4-9645-4B0D-854C-73DB6EC23D26}" destId="{FDC26D00-5A59-43DD-BD94-4648E5281EB8}" srcOrd="0" destOrd="0" presId="urn:microsoft.com/office/officeart/2008/layout/VerticalCurvedList"/>
    <dgm:cxn modelId="{59D79831-802C-4C2D-8A77-F0BC5A3CEE1A}" type="presParOf" srcId="{B2F26DB3-2536-4B56-8AB1-ACBD9E1B2C5C}" destId="{FAFBEBF9-3E4D-48BD-8856-0574A6E0DA32}" srcOrd="7" destOrd="0" presId="urn:microsoft.com/office/officeart/2008/layout/VerticalCurvedList"/>
    <dgm:cxn modelId="{CE9A33DB-FF34-47E1-B92E-BA43CAC68E45}" type="presParOf" srcId="{B2F26DB3-2536-4B56-8AB1-ACBD9E1B2C5C}" destId="{11814042-0638-4A20-9236-B6A6FFDFB4A7}" srcOrd="8" destOrd="0" presId="urn:microsoft.com/office/officeart/2008/layout/VerticalCurvedList"/>
    <dgm:cxn modelId="{20C6A7FC-1EA7-43A6-A640-4746FACB5F6C}" type="presParOf" srcId="{11814042-0638-4A20-9236-B6A6FFDFB4A7}" destId="{24A303EB-B958-40A3-9D30-49736A2D150B}" srcOrd="0" destOrd="0" presId="urn:microsoft.com/office/officeart/2008/layout/VerticalCurvedList"/>
    <dgm:cxn modelId="{3EF306FA-6097-4475-ADAF-C220690D2ECA}" type="presParOf" srcId="{B2F26DB3-2536-4B56-8AB1-ACBD9E1B2C5C}" destId="{03D29AE1-4449-4DE3-A023-86F969CE6A3B}" srcOrd="9" destOrd="0" presId="urn:microsoft.com/office/officeart/2008/layout/VerticalCurvedList"/>
    <dgm:cxn modelId="{5271FDAB-9881-48D6-8ECE-E79880623C94}" type="presParOf" srcId="{B2F26DB3-2536-4B56-8AB1-ACBD9E1B2C5C}" destId="{E8F37C79-BEBE-45DD-BCB9-EA143F2CA083}" srcOrd="10" destOrd="0" presId="urn:microsoft.com/office/officeart/2008/layout/VerticalCurvedList"/>
    <dgm:cxn modelId="{A0E9A781-F133-43DD-B721-A4377C3A4250}" type="presParOf" srcId="{E8F37C79-BEBE-45DD-BCB9-EA143F2CA083}" destId="{91D55668-ACC9-4242-A908-289F1030F0B3}" srcOrd="0" destOrd="0" presId="urn:microsoft.com/office/officeart/2008/layout/VerticalCurvedList"/>
    <dgm:cxn modelId="{06F4C5F5-0408-468E-8897-FBBEEE413EBE}" type="presParOf" srcId="{B2F26DB3-2536-4B56-8AB1-ACBD9E1B2C5C}" destId="{88B614A0-0567-4F2D-B2B2-F83BFA3B4526}" srcOrd="11" destOrd="0" presId="urn:microsoft.com/office/officeart/2008/layout/VerticalCurvedList"/>
    <dgm:cxn modelId="{316651B3-FD66-44D1-B877-4D183AC3B65C}" type="presParOf" srcId="{B2F26DB3-2536-4B56-8AB1-ACBD9E1B2C5C}" destId="{7BA05796-4DC6-43AD-9A37-68DE7BB1134B}" srcOrd="12" destOrd="0" presId="urn:microsoft.com/office/officeart/2008/layout/VerticalCurvedList"/>
    <dgm:cxn modelId="{B2423AB7-D95B-4ABD-B848-4D4E21818F24}" type="presParOf" srcId="{7BA05796-4DC6-43AD-9A37-68DE7BB1134B}" destId="{D47FFDD6-F087-47F0-BA26-080C7BFE26AA}" srcOrd="0" destOrd="0" presId="urn:microsoft.com/office/officeart/2008/layout/VerticalCurvedList"/>
    <dgm:cxn modelId="{DAD689A7-C592-4FED-B104-6952D10A4439}" type="presParOf" srcId="{B2F26DB3-2536-4B56-8AB1-ACBD9E1B2C5C}" destId="{7B531F08-90CC-47F3-9A72-F060C4EBFEFA}" srcOrd="13" destOrd="0" presId="urn:microsoft.com/office/officeart/2008/layout/VerticalCurvedList"/>
    <dgm:cxn modelId="{56FCC09C-F32C-4016-A221-CA3EE86D42E8}" type="presParOf" srcId="{B2F26DB3-2536-4B56-8AB1-ACBD9E1B2C5C}" destId="{C2374CA1-4BBA-40FB-AA28-BC2764748C14}" srcOrd="14" destOrd="0" presId="urn:microsoft.com/office/officeart/2008/layout/VerticalCurvedList"/>
    <dgm:cxn modelId="{C3FD5FF7-2411-4EB0-8128-6FBCCC32B645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D0D2E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2: REGISTRO EN ARIBA SOURCING</a:t>
          </a:r>
          <a:endParaRPr lang="es-PE" sz="1500" dirty="0">
            <a:solidFill>
              <a:schemeClr val="bg2"/>
            </a:solidFill>
            <a:latin typeface="+mj-lt"/>
          </a:endParaRP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4: </a:t>
          </a:r>
          <a:r>
            <a:rPr lang="es-PE" sz="1500" dirty="0"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5: </a:t>
          </a:r>
          <a:r>
            <a:rPr lang="es-PE" sz="1500" dirty="0"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6: </a:t>
          </a:r>
          <a:r>
            <a:rPr lang="es-PE" sz="1500" dirty="0"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7: </a:t>
          </a:r>
          <a:r>
            <a:rPr lang="es-PE" sz="1500" dirty="0"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3: </a:t>
          </a:r>
          <a:r>
            <a:rPr lang="es-PE" sz="1500" dirty="0">
              <a:solidFill>
                <a:schemeClr val="tx1"/>
              </a:solidFill>
              <a:latin typeface="+mj-lt"/>
            </a:rPr>
            <a:t>PARTIPACIÓN DE UN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B9DFE88D-4E15-4C3D-8043-FFCD3C98B3FF}" type="presOf" srcId="{1CB3B335-E036-4DCD-B8EB-B7B4B9E434A7}" destId="{73840F37-B9C6-4693-B5A1-AFE4241D7801}" srcOrd="0" destOrd="0" presId="urn:microsoft.com/office/officeart/2008/layout/VerticalCurvedList"/>
    <dgm:cxn modelId="{E95D85E6-4D64-4FA4-98C8-409A5FDB761B}" type="presOf" srcId="{4DD36E5E-47F8-41F5-A250-261C4908CD0E}" destId="{03D29AE1-4449-4DE3-A023-86F969CE6A3B}" srcOrd="0" destOrd="0" presId="urn:microsoft.com/office/officeart/2008/layout/VerticalCurvedList"/>
    <dgm:cxn modelId="{C43E1EE3-7C8B-408C-95BE-D314A65F6B1B}" type="presOf" srcId="{AC214AE1-4D3D-4ACC-B4D4-280EBD06D3FB}" destId="{FAFBEBF9-3E4D-48BD-8856-0574A6E0DA32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51AAF383-BC03-4020-B2EC-0D96FC394CEB}" type="presOf" srcId="{6BCE9CCE-03DD-41E5-AF05-C51C1537C7B1}" destId="{434E6F52-50E8-4101-B913-649D0D9CF636}" srcOrd="0" destOrd="0" presId="urn:microsoft.com/office/officeart/2008/layout/VerticalCurvedList"/>
    <dgm:cxn modelId="{7D368222-7A58-4E26-9114-7C74E8897DF0}" type="presOf" srcId="{54DB3862-5A1D-445E-931E-1A628A0296DB}" destId="{BEB6FDFA-82F6-40D8-B2D6-24F4052A9FB2}" srcOrd="0" destOrd="0" presId="urn:microsoft.com/office/officeart/2008/layout/VerticalCurvedList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65814E2D-437E-4061-B03B-D53697B7E640}" type="presOf" srcId="{373AD536-D984-446B-8B11-F6D93DB96E5E}" destId="{8A9F4BD1-72EA-4FA7-BBD6-86CECE20947E}" srcOrd="0" destOrd="0" presId="urn:microsoft.com/office/officeart/2008/layout/VerticalCurvedList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071BEDB2-6520-40BA-B0D9-0F6BDDD04C1C}" type="presOf" srcId="{D83CA26B-B79B-4BF3-B103-7BC5B3B8C86B}" destId="{8CB43088-37D2-42C0-80C6-9DE564B0B032}" srcOrd="0" destOrd="0" presId="urn:microsoft.com/office/officeart/2008/layout/VerticalCurvedList"/>
    <dgm:cxn modelId="{56E073B7-7528-4734-8B74-B6A60D93ABC9}" type="presOf" srcId="{156DCBB4-6868-4657-8E9D-0B7EF16717EC}" destId="{7B531F08-90CC-47F3-9A72-F060C4EBFEFA}" srcOrd="0" destOrd="0" presId="urn:microsoft.com/office/officeart/2008/layout/VerticalCurvedList"/>
    <dgm:cxn modelId="{6614CED8-259C-4551-90FD-BD24BA9ADBEC}" type="presOf" srcId="{DE40AF2B-3225-4CC5-A71A-34004BE0875E}" destId="{88B614A0-0567-4F2D-B2B2-F83BFA3B4526}" srcOrd="0" destOrd="0" presId="urn:microsoft.com/office/officeart/2008/layout/VerticalCurvedList"/>
    <dgm:cxn modelId="{63B3F1A8-C8E4-4C9D-819B-E8ED8F429DA1}" type="presParOf" srcId="{BEB6FDFA-82F6-40D8-B2D6-24F4052A9FB2}" destId="{B2F26DB3-2536-4B56-8AB1-ACBD9E1B2C5C}" srcOrd="0" destOrd="0" presId="urn:microsoft.com/office/officeart/2008/layout/VerticalCurvedList"/>
    <dgm:cxn modelId="{29B5DCE9-B935-4789-B681-2FE3F8B8A5B1}" type="presParOf" srcId="{B2F26DB3-2536-4B56-8AB1-ACBD9E1B2C5C}" destId="{FDE09A13-0F22-4B9D-BDE7-2EC93D43CD97}" srcOrd="0" destOrd="0" presId="urn:microsoft.com/office/officeart/2008/layout/VerticalCurvedList"/>
    <dgm:cxn modelId="{234F1EEE-69B8-43B4-B20C-F69E11B3DAF8}" type="presParOf" srcId="{FDE09A13-0F22-4B9D-BDE7-2EC93D43CD97}" destId="{B3A3138E-38C1-4FD1-B81B-C6B723949C1D}" srcOrd="0" destOrd="0" presId="urn:microsoft.com/office/officeart/2008/layout/VerticalCurvedList"/>
    <dgm:cxn modelId="{006646ED-B13C-43E6-B660-2463083E697E}" type="presParOf" srcId="{FDE09A13-0F22-4B9D-BDE7-2EC93D43CD97}" destId="{8A9F4BD1-72EA-4FA7-BBD6-86CECE20947E}" srcOrd="1" destOrd="0" presId="urn:microsoft.com/office/officeart/2008/layout/VerticalCurvedList"/>
    <dgm:cxn modelId="{4935E5F2-6392-47E8-8BBE-D7C6279BB3A8}" type="presParOf" srcId="{FDE09A13-0F22-4B9D-BDE7-2EC93D43CD97}" destId="{77B226B4-5A6D-420C-9206-6586E7406D1A}" srcOrd="2" destOrd="0" presId="urn:microsoft.com/office/officeart/2008/layout/VerticalCurvedList"/>
    <dgm:cxn modelId="{AD936C95-B555-4B3C-851D-5BE3ED7ED7C2}" type="presParOf" srcId="{FDE09A13-0F22-4B9D-BDE7-2EC93D43CD97}" destId="{10917D27-9907-4CFF-804F-6F76DF6F6802}" srcOrd="3" destOrd="0" presId="urn:microsoft.com/office/officeart/2008/layout/VerticalCurvedList"/>
    <dgm:cxn modelId="{C718D129-2BEA-40CA-BB5F-BD54BCD45608}" type="presParOf" srcId="{B2F26DB3-2536-4B56-8AB1-ACBD9E1B2C5C}" destId="{8CB43088-37D2-42C0-80C6-9DE564B0B032}" srcOrd="1" destOrd="0" presId="urn:microsoft.com/office/officeart/2008/layout/VerticalCurvedList"/>
    <dgm:cxn modelId="{DE912EE6-D5B5-4C8A-AC58-B16DE0EEFC6B}" type="presParOf" srcId="{B2F26DB3-2536-4B56-8AB1-ACBD9E1B2C5C}" destId="{B4480F6D-1C82-4F14-81F9-81A134869499}" srcOrd="2" destOrd="0" presId="urn:microsoft.com/office/officeart/2008/layout/VerticalCurvedList"/>
    <dgm:cxn modelId="{FABF9B35-C09F-4D07-9B77-C994A15A554B}" type="presParOf" srcId="{B4480F6D-1C82-4F14-81F9-81A134869499}" destId="{B20CD4B4-3291-4905-89C1-0CA8F2725B5B}" srcOrd="0" destOrd="0" presId="urn:microsoft.com/office/officeart/2008/layout/VerticalCurvedList"/>
    <dgm:cxn modelId="{6A6331B7-5738-4451-BAF4-F11ADB5AD0E3}" type="presParOf" srcId="{B2F26DB3-2536-4B56-8AB1-ACBD9E1B2C5C}" destId="{73840F37-B9C6-4693-B5A1-AFE4241D7801}" srcOrd="3" destOrd="0" presId="urn:microsoft.com/office/officeart/2008/layout/VerticalCurvedList"/>
    <dgm:cxn modelId="{0C97E2A9-E480-499D-8705-E70F79C61845}" type="presParOf" srcId="{B2F26DB3-2536-4B56-8AB1-ACBD9E1B2C5C}" destId="{5C61CBAF-FA16-4F3C-B10F-F4A64362E262}" srcOrd="4" destOrd="0" presId="urn:microsoft.com/office/officeart/2008/layout/VerticalCurvedList"/>
    <dgm:cxn modelId="{5322D6E7-172F-406F-8EF5-8DC46A64B3E2}" type="presParOf" srcId="{5C61CBAF-FA16-4F3C-B10F-F4A64362E262}" destId="{B472731E-6A63-48C2-94C5-5D710CCAC4BE}" srcOrd="0" destOrd="0" presId="urn:microsoft.com/office/officeart/2008/layout/VerticalCurvedList"/>
    <dgm:cxn modelId="{D25F4557-7889-48AF-8F94-B89058F0A990}" type="presParOf" srcId="{B2F26DB3-2536-4B56-8AB1-ACBD9E1B2C5C}" destId="{434E6F52-50E8-4101-B913-649D0D9CF636}" srcOrd="5" destOrd="0" presId="urn:microsoft.com/office/officeart/2008/layout/VerticalCurvedList"/>
    <dgm:cxn modelId="{E7476952-6CD6-4F00-86D6-8F0B0404B31F}" type="presParOf" srcId="{B2F26DB3-2536-4B56-8AB1-ACBD9E1B2C5C}" destId="{377FE4C4-9645-4B0D-854C-73DB6EC23D26}" srcOrd="6" destOrd="0" presId="urn:microsoft.com/office/officeart/2008/layout/VerticalCurvedList"/>
    <dgm:cxn modelId="{661C7AD1-722F-4E98-8361-90375A3BB432}" type="presParOf" srcId="{377FE4C4-9645-4B0D-854C-73DB6EC23D26}" destId="{FDC26D00-5A59-43DD-BD94-4648E5281EB8}" srcOrd="0" destOrd="0" presId="urn:microsoft.com/office/officeart/2008/layout/VerticalCurvedList"/>
    <dgm:cxn modelId="{E1AAD5C1-CAEE-422C-9BEF-AAC1C1268945}" type="presParOf" srcId="{B2F26DB3-2536-4B56-8AB1-ACBD9E1B2C5C}" destId="{FAFBEBF9-3E4D-48BD-8856-0574A6E0DA32}" srcOrd="7" destOrd="0" presId="urn:microsoft.com/office/officeart/2008/layout/VerticalCurvedList"/>
    <dgm:cxn modelId="{3FAFE874-638F-4EE6-B786-C34CC6E470EC}" type="presParOf" srcId="{B2F26DB3-2536-4B56-8AB1-ACBD9E1B2C5C}" destId="{11814042-0638-4A20-9236-B6A6FFDFB4A7}" srcOrd="8" destOrd="0" presId="urn:microsoft.com/office/officeart/2008/layout/VerticalCurvedList"/>
    <dgm:cxn modelId="{9CFE037B-37E2-40AA-B5B0-783D50B48E18}" type="presParOf" srcId="{11814042-0638-4A20-9236-B6A6FFDFB4A7}" destId="{24A303EB-B958-40A3-9D30-49736A2D150B}" srcOrd="0" destOrd="0" presId="urn:microsoft.com/office/officeart/2008/layout/VerticalCurvedList"/>
    <dgm:cxn modelId="{AF64A076-C700-4F12-8C03-6DF008ECC89A}" type="presParOf" srcId="{B2F26DB3-2536-4B56-8AB1-ACBD9E1B2C5C}" destId="{03D29AE1-4449-4DE3-A023-86F969CE6A3B}" srcOrd="9" destOrd="0" presId="urn:microsoft.com/office/officeart/2008/layout/VerticalCurvedList"/>
    <dgm:cxn modelId="{8B1F854C-233B-4700-9011-15D9D537A3D8}" type="presParOf" srcId="{B2F26DB3-2536-4B56-8AB1-ACBD9E1B2C5C}" destId="{E8F37C79-BEBE-45DD-BCB9-EA143F2CA083}" srcOrd="10" destOrd="0" presId="urn:microsoft.com/office/officeart/2008/layout/VerticalCurvedList"/>
    <dgm:cxn modelId="{54D4E298-1082-4463-93DB-E14AE0C59F4B}" type="presParOf" srcId="{E8F37C79-BEBE-45DD-BCB9-EA143F2CA083}" destId="{91D55668-ACC9-4242-A908-289F1030F0B3}" srcOrd="0" destOrd="0" presId="urn:microsoft.com/office/officeart/2008/layout/VerticalCurvedList"/>
    <dgm:cxn modelId="{841C7AB0-8119-47A3-99BC-E7641CC501D8}" type="presParOf" srcId="{B2F26DB3-2536-4B56-8AB1-ACBD9E1B2C5C}" destId="{88B614A0-0567-4F2D-B2B2-F83BFA3B4526}" srcOrd="11" destOrd="0" presId="urn:microsoft.com/office/officeart/2008/layout/VerticalCurvedList"/>
    <dgm:cxn modelId="{8EAD916A-8C51-4831-859C-8AFD9999BFC9}" type="presParOf" srcId="{B2F26DB3-2536-4B56-8AB1-ACBD9E1B2C5C}" destId="{7BA05796-4DC6-43AD-9A37-68DE7BB1134B}" srcOrd="12" destOrd="0" presId="urn:microsoft.com/office/officeart/2008/layout/VerticalCurvedList"/>
    <dgm:cxn modelId="{7A06FC68-7AD4-4E43-8CF0-D07D000A5FB1}" type="presParOf" srcId="{7BA05796-4DC6-43AD-9A37-68DE7BB1134B}" destId="{D47FFDD6-F087-47F0-BA26-080C7BFE26AA}" srcOrd="0" destOrd="0" presId="urn:microsoft.com/office/officeart/2008/layout/VerticalCurvedList"/>
    <dgm:cxn modelId="{3EB3D6F3-7902-47C7-8D78-A23B99FFE605}" type="presParOf" srcId="{B2F26DB3-2536-4B56-8AB1-ACBD9E1B2C5C}" destId="{7B531F08-90CC-47F3-9A72-F060C4EBFEFA}" srcOrd="13" destOrd="0" presId="urn:microsoft.com/office/officeart/2008/layout/VerticalCurvedList"/>
    <dgm:cxn modelId="{37BD6EC1-EB92-458C-A010-00734B0CB58E}" type="presParOf" srcId="{B2F26DB3-2536-4B56-8AB1-ACBD9E1B2C5C}" destId="{C2374CA1-4BBA-40FB-AA28-BC2764748C14}" srcOrd="14" destOrd="0" presId="urn:microsoft.com/office/officeart/2008/layout/VerticalCurvedList"/>
    <dgm:cxn modelId="{4386479E-D5BB-463B-A8C9-F0BF94738F89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D0D2E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>
        <a:solidFill>
          <a:srgbClr val="C3C7D9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dirty="0">
              <a:solidFill>
                <a:schemeClr val="bg2"/>
              </a:solidFill>
              <a:latin typeface="+mj-lt"/>
            </a:rPr>
            <a:t>REGISTRO EN ARIBA SOURCING</a:t>
          </a: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dirty="0">
              <a:solidFill>
                <a:schemeClr val="bg1"/>
              </a:solidFill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5: </a:t>
          </a:r>
          <a:r>
            <a:rPr lang="es-PE" sz="1500" dirty="0"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6: </a:t>
          </a:r>
          <a:r>
            <a:rPr lang="es-PE" sz="1500" dirty="0"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7: </a:t>
          </a:r>
          <a:r>
            <a:rPr lang="es-PE" sz="1500" dirty="0"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>
        <a:solidFill>
          <a:srgbClr val="D2D4E1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AF40CF4D-FA77-4540-98C7-83EEEAC0B83A}" type="presOf" srcId="{6BCE9CCE-03DD-41E5-AF05-C51C1537C7B1}" destId="{434E6F52-50E8-4101-B913-649D0D9CF636}" srcOrd="0" destOrd="0" presId="urn:microsoft.com/office/officeart/2008/layout/VerticalCurvedList"/>
    <dgm:cxn modelId="{2DCB2871-AA01-4516-8BDB-DC000DED95B0}" type="presOf" srcId="{373AD536-D984-446B-8B11-F6D93DB96E5E}" destId="{8A9F4BD1-72EA-4FA7-BBD6-86CECE20947E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01FCD917-FA0F-4F0B-A60B-69A1DD0FFA6B}" type="presOf" srcId="{DE40AF2B-3225-4CC5-A71A-34004BE0875E}" destId="{88B614A0-0567-4F2D-B2B2-F83BFA3B4526}" srcOrd="0" destOrd="0" presId="urn:microsoft.com/office/officeart/2008/layout/VerticalCurvedList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A3D309C6-8995-4E87-B022-4B639F903492}" type="presOf" srcId="{AC214AE1-4D3D-4ACC-B4D4-280EBD06D3FB}" destId="{FAFBEBF9-3E4D-48BD-8856-0574A6E0DA32}" srcOrd="0" destOrd="0" presId="urn:microsoft.com/office/officeart/2008/layout/VerticalCurvedList"/>
    <dgm:cxn modelId="{31BA8B5D-2E4E-44DF-81B8-B8A785C07FFE}" type="presOf" srcId="{D83CA26B-B79B-4BF3-B103-7BC5B3B8C86B}" destId="{8CB43088-37D2-42C0-80C6-9DE564B0B032}" srcOrd="0" destOrd="0" presId="urn:microsoft.com/office/officeart/2008/layout/VerticalCurvedList"/>
    <dgm:cxn modelId="{B577383A-BACF-4911-8E09-81092C30F9D1}" type="presOf" srcId="{1CB3B335-E036-4DCD-B8EB-B7B4B9E434A7}" destId="{73840F37-B9C6-4693-B5A1-AFE4241D7801}" srcOrd="0" destOrd="0" presId="urn:microsoft.com/office/officeart/2008/layout/VerticalCurvedList"/>
    <dgm:cxn modelId="{A79AB8EA-D32E-4296-92A6-A3BFF18E80D0}" type="presOf" srcId="{54DB3862-5A1D-445E-931E-1A628A0296DB}" destId="{BEB6FDFA-82F6-40D8-B2D6-24F4052A9FB2}" srcOrd="0" destOrd="0" presId="urn:microsoft.com/office/officeart/2008/layout/VerticalCurvedList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C4650E8E-E1D2-49DD-9E88-699F549DC349}" type="presOf" srcId="{156DCBB4-6868-4657-8E9D-0B7EF16717EC}" destId="{7B531F08-90CC-47F3-9A72-F060C4EBFEFA}" srcOrd="0" destOrd="0" presId="urn:microsoft.com/office/officeart/2008/layout/VerticalCurvedList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31F6A383-939A-4944-B72A-5C4BD27BA27A}" type="presOf" srcId="{4DD36E5E-47F8-41F5-A250-261C4908CD0E}" destId="{03D29AE1-4449-4DE3-A023-86F969CE6A3B}" srcOrd="0" destOrd="0" presId="urn:microsoft.com/office/officeart/2008/layout/VerticalCurvedList"/>
    <dgm:cxn modelId="{639B97BB-D091-42DC-BCFC-C112C291AF60}" type="presParOf" srcId="{BEB6FDFA-82F6-40D8-B2D6-24F4052A9FB2}" destId="{B2F26DB3-2536-4B56-8AB1-ACBD9E1B2C5C}" srcOrd="0" destOrd="0" presId="urn:microsoft.com/office/officeart/2008/layout/VerticalCurvedList"/>
    <dgm:cxn modelId="{BD08F9DD-53D3-4EBB-9162-BF9B1C6A2F62}" type="presParOf" srcId="{B2F26DB3-2536-4B56-8AB1-ACBD9E1B2C5C}" destId="{FDE09A13-0F22-4B9D-BDE7-2EC93D43CD97}" srcOrd="0" destOrd="0" presId="urn:microsoft.com/office/officeart/2008/layout/VerticalCurvedList"/>
    <dgm:cxn modelId="{A38D08FD-28F5-4CF7-8BEC-3F07EFEAF71D}" type="presParOf" srcId="{FDE09A13-0F22-4B9D-BDE7-2EC93D43CD97}" destId="{B3A3138E-38C1-4FD1-B81B-C6B723949C1D}" srcOrd="0" destOrd="0" presId="urn:microsoft.com/office/officeart/2008/layout/VerticalCurvedList"/>
    <dgm:cxn modelId="{C58D5F17-5440-4E2A-8846-2F609FC7813C}" type="presParOf" srcId="{FDE09A13-0F22-4B9D-BDE7-2EC93D43CD97}" destId="{8A9F4BD1-72EA-4FA7-BBD6-86CECE20947E}" srcOrd="1" destOrd="0" presId="urn:microsoft.com/office/officeart/2008/layout/VerticalCurvedList"/>
    <dgm:cxn modelId="{9EA5CDF9-70F0-436A-8923-CEF22E7D367D}" type="presParOf" srcId="{FDE09A13-0F22-4B9D-BDE7-2EC93D43CD97}" destId="{77B226B4-5A6D-420C-9206-6586E7406D1A}" srcOrd="2" destOrd="0" presId="urn:microsoft.com/office/officeart/2008/layout/VerticalCurvedList"/>
    <dgm:cxn modelId="{3AF5BBEE-3FAA-473E-B770-F09CD7378896}" type="presParOf" srcId="{FDE09A13-0F22-4B9D-BDE7-2EC93D43CD97}" destId="{10917D27-9907-4CFF-804F-6F76DF6F6802}" srcOrd="3" destOrd="0" presId="urn:microsoft.com/office/officeart/2008/layout/VerticalCurvedList"/>
    <dgm:cxn modelId="{47029A6D-93C8-43B4-94C5-95B496BE817F}" type="presParOf" srcId="{B2F26DB3-2536-4B56-8AB1-ACBD9E1B2C5C}" destId="{8CB43088-37D2-42C0-80C6-9DE564B0B032}" srcOrd="1" destOrd="0" presId="urn:microsoft.com/office/officeart/2008/layout/VerticalCurvedList"/>
    <dgm:cxn modelId="{2BFB55CF-8415-4342-96C6-381D59152555}" type="presParOf" srcId="{B2F26DB3-2536-4B56-8AB1-ACBD9E1B2C5C}" destId="{B4480F6D-1C82-4F14-81F9-81A134869499}" srcOrd="2" destOrd="0" presId="urn:microsoft.com/office/officeart/2008/layout/VerticalCurvedList"/>
    <dgm:cxn modelId="{D0003647-E15C-469B-A032-E2670FB5F77E}" type="presParOf" srcId="{B4480F6D-1C82-4F14-81F9-81A134869499}" destId="{B20CD4B4-3291-4905-89C1-0CA8F2725B5B}" srcOrd="0" destOrd="0" presId="urn:microsoft.com/office/officeart/2008/layout/VerticalCurvedList"/>
    <dgm:cxn modelId="{72A11CD7-FB66-4C5F-827E-91EAFF843B6E}" type="presParOf" srcId="{B2F26DB3-2536-4B56-8AB1-ACBD9E1B2C5C}" destId="{73840F37-B9C6-4693-B5A1-AFE4241D7801}" srcOrd="3" destOrd="0" presId="urn:microsoft.com/office/officeart/2008/layout/VerticalCurvedList"/>
    <dgm:cxn modelId="{8B42C4B6-17FC-4C7F-B34C-BF93C3899B5D}" type="presParOf" srcId="{B2F26DB3-2536-4B56-8AB1-ACBD9E1B2C5C}" destId="{5C61CBAF-FA16-4F3C-B10F-F4A64362E262}" srcOrd="4" destOrd="0" presId="urn:microsoft.com/office/officeart/2008/layout/VerticalCurvedList"/>
    <dgm:cxn modelId="{E1C6FAB6-413F-4500-AE8B-A01E923740D2}" type="presParOf" srcId="{5C61CBAF-FA16-4F3C-B10F-F4A64362E262}" destId="{B472731E-6A63-48C2-94C5-5D710CCAC4BE}" srcOrd="0" destOrd="0" presId="urn:microsoft.com/office/officeart/2008/layout/VerticalCurvedList"/>
    <dgm:cxn modelId="{B77CD7F6-07E6-43EF-A18E-1D9855483615}" type="presParOf" srcId="{B2F26DB3-2536-4B56-8AB1-ACBD9E1B2C5C}" destId="{434E6F52-50E8-4101-B913-649D0D9CF636}" srcOrd="5" destOrd="0" presId="urn:microsoft.com/office/officeart/2008/layout/VerticalCurvedList"/>
    <dgm:cxn modelId="{71659420-0F91-42E8-8862-A81168264BA1}" type="presParOf" srcId="{B2F26DB3-2536-4B56-8AB1-ACBD9E1B2C5C}" destId="{377FE4C4-9645-4B0D-854C-73DB6EC23D26}" srcOrd="6" destOrd="0" presId="urn:microsoft.com/office/officeart/2008/layout/VerticalCurvedList"/>
    <dgm:cxn modelId="{F7C945BA-5CCA-4535-87A4-7BA9CA2AA146}" type="presParOf" srcId="{377FE4C4-9645-4B0D-854C-73DB6EC23D26}" destId="{FDC26D00-5A59-43DD-BD94-4648E5281EB8}" srcOrd="0" destOrd="0" presId="urn:microsoft.com/office/officeart/2008/layout/VerticalCurvedList"/>
    <dgm:cxn modelId="{E6139724-19A6-4A49-96FA-CCD2D5CFC0AE}" type="presParOf" srcId="{B2F26DB3-2536-4B56-8AB1-ACBD9E1B2C5C}" destId="{FAFBEBF9-3E4D-48BD-8856-0574A6E0DA32}" srcOrd="7" destOrd="0" presId="urn:microsoft.com/office/officeart/2008/layout/VerticalCurvedList"/>
    <dgm:cxn modelId="{6B3CED69-9F91-430C-BE4B-A5C46540F2E6}" type="presParOf" srcId="{B2F26DB3-2536-4B56-8AB1-ACBD9E1B2C5C}" destId="{11814042-0638-4A20-9236-B6A6FFDFB4A7}" srcOrd="8" destOrd="0" presId="urn:microsoft.com/office/officeart/2008/layout/VerticalCurvedList"/>
    <dgm:cxn modelId="{79544D1A-C1A6-4BF0-A006-681DEE22D659}" type="presParOf" srcId="{11814042-0638-4A20-9236-B6A6FFDFB4A7}" destId="{24A303EB-B958-40A3-9D30-49736A2D150B}" srcOrd="0" destOrd="0" presId="urn:microsoft.com/office/officeart/2008/layout/VerticalCurvedList"/>
    <dgm:cxn modelId="{2EF98CAC-1961-4BF8-AD2E-B3229C35A97E}" type="presParOf" srcId="{B2F26DB3-2536-4B56-8AB1-ACBD9E1B2C5C}" destId="{03D29AE1-4449-4DE3-A023-86F969CE6A3B}" srcOrd="9" destOrd="0" presId="urn:microsoft.com/office/officeart/2008/layout/VerticalCurvedList"/>
    <dgm:cxn modelId="{D4A46C2F-052B-4686-A0CD-2912960B8671}" type="presParOf" srcId="{B2F26DB3-2536-4B56-8AB1-ACBD9E1B2C5C}" destId="{E8F37C79-BEBE-45DD-BCB9-EA143F2CA083}" srcOrd="10" destOrd="0" presId="urn:microsoft.com/office/officeart/2008/layout/VerticalCurvedList"/>
    <dgm:cxn modelId="{D8A58A5D-53DA-4906-B5DA-1AA3B8C1AFF6}" type="presParOf" srcId="{E8F37C79-BEBE-45DD-BCB9-EA143F2CA083}" destId="{91D55668-ACC9-4242-A908-289F1030F0B3}" srcOrd="0" destOrd="0" presId="urn:microsoft.com/office/officeart/2008/layout/VerticalCurvedList"/>
    <dgm:cxn modelId="{958CC3EF-8559-426E-A700-A66883491C57}" type="presParOf" srcId="{B2F26DB3-2536-4B56-8AB1-ACBD9E1B2C5C}" destId="{88B614A0-0567-4F2D-B2B2-F83BFA3B4526}" srcOrd="11" destOrd="0" presId="urn:microsoft.com/office/officeart/2008/layout/VerticalCurvedList"/>
    <dgm:cxn modelId="{066D5461-2563-4C58-993A-BA322C32776E}" type="presParOf" srcId="{B2F26DB3-2536-4B56-8AB1-ACBD9E1B2C5C}" destId="{7BA05796-4DC6-43AD-9A37-68DE7BB1134B}" srcOrd="12" destOrd="0" presId="urn:microsoft.com/office/officeart/2008/layout/VerticalCurvedList"/>
    <dgm:cxn modelId="{9E480B49-AD5B-4125-81B1-5A563D827540}" type="presParOf" srcId="{7BA05796-4DC6-43AD-9A37-68DE7BB1134B}" destId="{D47FFDD6-F087-47F0-BA26-080C7BFE26AA}" srcOrd="0" destOrd="0" presId="urn:microsoft.com/office/officeart/2008/layout/VerticalCurvedList"/>
    <dgm:cxn modelId="{9079EB1B-172F-4135-BE95-2B06DAB4BEE5}" type="presParOf" srcId="{B2F26DB3-2536-4B56-8AB1-ACBD9E1B2C5C}" destId="{7B531F08-90CC-47F3-9A72-F060C4EBFEFA}" srcOrd="13" destOrd="0" presId="urn:microsoft.com/office/officeart/2008/layout/VerticalCurvedList"/>
    <dgm:cxn modelId="{85AEEB52-F5EA-4FC9-A589-94B2DF5DB32B}" type="presParOf" srcId="{B2F26DB3-2536-4B56-8AB1-ACBD9E1B2C5C}" destId="{C2374CA1-4BBA-40FB-AA28-BC2764748C14}" srcOrd="14" destOrd="0" presId="urn:microsoft.com/office/officeart/2008/layout/VerticalCurvedList"/>
    <dgm:cxn modelId="{4B078A2B-6F7F-4B37-BB3A-F885A8E56798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D0D2E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>
        <a:solidFill>
          <a:srgbClr val="C3C7D9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dirty="0">
              <a:solidFill>
                <a:schemeClr val="bg2"/>
              </a:solidFill>
              <a:latin typeface="+mj-lt"/>
            </a:rPr>
            <a:t>REGISTRO EN ARIBA SOURCING</a:t>
          </a: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>
        <a:solidFill>
          <a:srgbClr val="D4D6E3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dirty="0">
              <a:solidFill>
                <a:schemeClr val="bg1"/>
              </a:solidFill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>
        <a:solidFill>
          <a:srgbClr val="0054C7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dirty="0">
              <a:solidFill>
                <a:schemeClr val="bg1"/>
              </a:solidFill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6: </a:t>
          </a:r>
          <a:r>
            <a:rPr lang="es-PE" sz="1500" b="0" dirty="0"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7: </a:t>
          </a:r>
          <a:r>
            <a:rPr lang="es-PE" sz="1500" dirty="0"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DD079C98-F61F-4CF9-BCC9-DF3FFD6D71AB}">
      <dgm:prSet phldrT="[Texto]" custT="1"/>
      <dgm:spPr/>
      <dgm:t>
        <a:bodyPr/>
        <a:lstStyle/>
        <a:p>
          <a:endParaRPr lang="es-PE"/>
        </a:p>
      </dgm:t>
    </dgm:pt>
    <dgm:pt modelId="{1B63BC67-DC7D-41D3-93EC-CC939C7AA10E}" type="parTrans" cxnId="{3D77D4F8-1AC9-4D80-9314-7F90D6F8AEDF}">
      <dgm:prSet/>
      <dgm:spPr/>
      <dgm:t>
        <a:bodyPr/>
        <a:lstStyle/>
        <a:p>
          <a:endParaRPr lang="es-PE"/>
        </a:p>
      </dgm:t>
    </dgm:pt>
    <dgm:pt modelId="{43605BF7-4FD6-4E5C-AE23-5FC9940DD9C8}" type="sibTrans" cxnId="{3D77D4F8-1AC9-4D80-9314-7F90D6F8AEDF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>
        <a:solidFill>
          <a:srgbClr val="D2D4E1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FF360DB5-8750-476C-86D3-DF9962D08981}" type="presOf" srcId="{373AD536-D984-446B-8B11-F6D93DB96E5E}" destId="{8A9F4BD1-72EA-4FA7-BBD6-86CECE20947E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0513C356-AE4A-41D7-9E01-58A97D9870EF}" type="presOf" srcId="{AC214AE1-4D3D-4ACC-B4D4-280EBD06D3FB}" destId="{FAFBEBF9-3E4D-48BD-8856-0574A6E0DA32}" srcOrd="0" destOrd="0" presId="urn:microsoft.com/office/officeart/2008/layout/VerticalCurvedList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FC8E418F-5626-41B8-9146-6F6538667BD4}" type="presOf" srcId="{6BCE9CCE-03DD-41E5-AF05-C51C1537C7B1}" destId="{434E6F52-50E8-4101-B913-649D0D9CF636}" srcOrd="0" destOrd="0" presId="urn:microsoft.com/office/officeart/2008/layout/VerticalCurvedList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2EBFB2CA-A319-452A-99E8-5342DFF2E547}" type="presOf" srcId="{DE40AF2B-3225-4CC5-A71A-34004BE0875E}" destId="{88B614A0-0567-4F2D-B2B2-F83BFA3B4526}" srcOrd="0" destOrd="0" presId="urn:microsoft.com/office/officeart/2008/layout/VerticalCurvedList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0D7AC0B4-8780-4DC8-A9E2-EB1C5DE6302A}" type="presOf" srcId="{1CB3B335-E036-4DCD-B8EB-B7B4B9E434A7}" destId="{73840F37-B9C6-4693-B5A1-AFE4241D7801}" srcOrd="0" destOrd="0" presId="urn:microsoft.com/office/officeart/2008/layout/VerticalCurvedList"/>
    <dgm:cxn modelId="{0D499FB9-1B34-44F9-8ACC-CDE71290FFED}" type="presOf" srcId="{156DCBB4-6868-4657-8E9D-0B7EF16717EC}" destId="{7B531F08-90CC-47F3-9A72-F060C4EBFEFA}" srcOrd="0" destOrd="0" presId="urn:microsoft.com/office/officeart/2008/layout/VerticalCurvedList"/>
    <dgm:cxn modelId="{EFE27BF2-9376-46A5-B657-4DB2AC7364F6}" type="presOf" srcId="{D83CA26B-B79B-4BF3-B103-7BC5B3B8C86B}" destId="{8CB43088-37D2-42C0-80C6-9DE564B0B032}" srcOrd="0" destOrd="0" presId="urn:microsoft.com/office/officeart/2008/layout/VerticalCurvedList"/>
    <dgm:cxn modelId="{3D77D4F8-1AC9-4D80-9314-7F90D6F8AEDF}" srcId="{54DB3862-5A1D-445E-931E-1A628A0296DB}" destId="{DD079C98-F61F-4CF9-BCC9-DF3FFD6D71AB}" srcOrd="7" destOrd="0" parTransId="{1B63BC67-DC7D-41D3-93EC-CC939C7AA10E}" sibTransId="{43605BF7-4FD6-4E5C-AE23-5FC9940DD9C8}"/>
    <dgm:cxn modelId="{167E15C4-EF5D-463F-A416-F3BC2C7F453D}" type="presOf" srcId="{54DB3862-5A1D-445E-931E-1A628A0296DB}" destId="{BEB6FDFA-82F6-40D8-B2D6-24F4052A9FB2}" srcOrd="0" destOrd="0" presId="urn:microsoft.com/office/officeart/2008/layout/VerticalCurvedList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2170BB8B-72DD-4E2D-9E98-7BE7E4DA4530}" type="presOf" srcId="{4DD36E5E-47F8-41F5-A250-261C4908CD0E}" destId="{03D29AE1-4449-4DE3-A023-86F969CE6A3B}" srcOrd="0" destOrd="0" presId="urn:microsoft.com/office/officeart/2008/layout/VerticalCurvedList"/>
    <dgm:cxn modelId="{B4788CC6-3359-4C17-8CF3-9ABA66B468EE}" type="presParOf" srcId="{BEB6FDFA-82F6-40D8-B2D6-24F4052A9FB2}" destId="{B2F26DB3-2536-4B56-8AB1-ACBD9E1B2C5C}" srcOrd="0" destOrd="0" presId="urn:microsoft.com/office/officeart/2008/layout/VerticalCurvedList"/>
    <dgm:cxn modelId="{C2095CF0-4E11-4C9F-9EC8-655931AEF2BF}" type="presParOf" srcId="{B2F26DB3-2536-4B56-8AB1-ACBD9E1B2C5C}" destId="{FDE09A13-0F22-4B9D-BDE7-2EC93D43CD97}" srcOrd="0" destOrd="0" presId="urn:microsoft.com/office/officeart/2008/layout/VerticalCurvedList"/>
    <dgm:cxn modelId="{190D77E3-DABC-41F4-A44B-E616812A3C1D}" type="presParOf" srcId="{FDE09A13-0F22-4B9D-BDE7-2EC93D43CD97}" destId="{B3A3138E-38C1-4FD1-B81B-C6B723949C1D}" srcOrd="0" destOrd="0" presId="urn:microsoft.com/office/officeart/2008/layout/VerticalCurvedList"/>
    <dgm:cxn modelId="{EB00DCD4-AEF3-44B8-9451-0A319F982DBC}" type="presParOf" srcId="{FDE09A13-0F22-4B9D-BDE7-2EC93D43CD97}" destId="{8A9F4BD1-72EA-4FA7-BBD6-86CECE20947E}" srcOrd="1" destOrd="0" presId="urn:microsoft.com/office/officeart/2008/layout/VerticalCurvedList"/>
    <dgm:cxn modelId="{B4C0143B-8603-4E97-BDEC-A4D6DCDDF60E}" type="presParOf" srcId="{FDE09A13-0F22-4B9D-BDE7-2EC93D43CD97}" destId="{77B226B4-5A6D-420C-9206-6586E7406D1A}" srcOrd="2" destOrd="0" presId="urn:microsoft.com/office/officeart/2008/layout/VerticalCurvedList"/>
    <dgm:cxn modelId="{10632962-CC7B-4CA8-B6ED-E3A6422E7F51}" type="presParOf" srcId="{FDE09A13-0F22-4B9D-BDE7-2EC93D43CD97}" destId="{10917D27-9907-4CFF-804F-6F76DF6F6802}" srcOrd="3" destOrd="0" presId="urn:microsoft.com/office/officeart/2008/layout/VerticalCurvedList"/>
    <dgm:cxn modelId="{7BAE2B66-F186-4626-9782-0E293EDA2A86}" type="presParOf" srcId="{B2F26DB3-2536-4B56-8AB1-ACBD9E1B2C5C}" destId="{8CB43088-37D2-42C0-80C6-9DE564B0B032}" srcOrd="1" destOrd="0" presId="urn:microsoft.com/office/officeart/2008/layout/VerticalCurvedList"/>
    <dgm:cxn modelId="{F9AF6FA5-0F75-4386-8DE9-411AC9695209}" type="presParOf" srcId="{B2F26DB3-2536-4B56-8AB1-ACBD9E1B2C5C}" destId="{B4480F6D-1C82-4F14-81F9-81A134869499}" srcOrd="2" destOrd="0" presId="urn:microsoft.com/office/officeart/2008/layout/VerticalCurvedList"/>
    <dgm:cxn modelId="{7DE3C359-A794-4121-B113-FE9B8268C10C}" type="presParOf" srcId="{B4480F6D-1C82-4F14-81F9-81A134869499}" destId="{B20CD4B4-3291-4905-89C1-0CA8F2725B5B}" srcOrd="0" destOrd="0" presId="urn:microsoft.com/office/officeart/2008/layout/VerticalCurvedList"/>
    <dgm:cxn modelId="{BA82AB99-21A4-4E3E-8802-D28418EC6622}" type="presParOf" srcId="{B2F26DB3-2536-4B56-8AB1-ACBD9E1B2C5C}" destId="{73840F37-B9C6-4693-B5A1-AFE4241D7801}" srcOrd="3" destOrd="0" presId="urn:microsoft.com/office/officeart/2008/layout/VerticalCurvedList"/>
    <dgm:cxn modelId="{AC38E923-A862-41BB-8850-242C98924AA3}" type="presParOf" srcId="{B2F26DB3-2536-4B56-8AB1-ACBD9E1B2C5C}" destId="{5C61CBAF-FA16-4F3C-B10F-F4A64362E262}" srcOrd="4" destOrd="0" presId="urn:microsoft.com/office/officeart/2008/layout/VerticalCurvedList"/>
    <dgm:cxn modelId="{5FBE2F23-8D25-4077-B54B-8D328A155439}" type="presParOf" srcId="{5C61CBAF-FA16-4F3C-B10F-F4A64362E262}" destId="{B472731E-6A63-48C2-94C5-5D710CCAC4BE}" srcOrd="0" destOrd="0" presId="urn:microsoft.com/office/officeart/2008/layout/VerticalCurvedList"/>
    <dgm:cxn modelId="{77E32AEB-32B5-4E69-B922-C13DA386C127}" type="presParOf" srcId="{B2F26DB3-2536-4B56-8AB1-ACBD9E1B2C5C}" destId="{434E6F52-50E8-4101-B913-649D0D9CF636}" srcOrd="5" destOrd="0" presId="urn:microsoft.com/office/officeart/2008/layout/VerticalCurvedList"/>
    <dgm:cxn modelId="{56C18D47-9DAE-447C-8798-8DDC79688C85}" type="presParOf" srcId="{B2F26DB3-2536-4B56-8AB1-ACBD9E1B2C5C}" destId="{377FE4C4-9645-4B0D-854C-73DB6EC23D26}" srcOrd="6" destOrd="0" presId="urn:microsoft.com/office/officeart/2008/layout/VerticalCurvedList"/>
    <dgm:cxn modelId="{B494C752-94C4-4370-AF26-2E4F17C11EEE}" type="presParOf" srcId="{377FE4C4-9645-4B0D-854C-73DB6EC23D26}" destId="{FDC26D00-5A59-43DD-BD94-4648E5281EB8}" srcOrd="0" destOrd="0" presId="urn:microsoft.com/office/officeart/2008/layout/VerticalCurvedList"/>
    <dgm:cxn modelId="{BF765C89-E920-4909-BC0A-B889740FD2B9}" type="presParOf" srcId="{B2F26DB3-2536-4B56-8AB1-ACBD9E1B2C5C}" destId="{FAFBEBF9-3E4D-48BD-8856-0574A6E0DA32}" srcOrd="7" destOrd="0" presId="urn:microsoft.com/office/officeart/2008/layout/VerticalCurvedList"/>
    <dgm:cxn modelId="{646B2ABB-E124-4DE0-88B2-DCBD8647BD34}" type="presParOf" srcId="{B2F26DB3-2536-4B56-8AB1-ACBD9E1B2C5C}" destId="{11814042-0638-4A20-9236-B6A6FFDFB4A7}" srcOrd="8" destOrd="0" presId="urn:microsoft.com/office/officeart/2008/layout/VerticalCurvedList"/>
    <dgm:cxn modelId="{7B68595A-B06E-4EA7-B5FC-837D483E8D78}" type="presParOf" srcId="{11814042-0638-4A20-9236-B6A6FFDFB4A7}" destId="{24A303EB-B958-40A3-9D30-49736A2D150B}" srcOrd="0" destOrd="0" presId="urn:microsoft.com/office/officeart/2008/layout/VerticalCurvedList"/>
    <dgm:cxn modelId="{CED8EBAA-5902-4C90-9EE2-C003916693FA}" type="presParOf" srcId="{B2F26DB3-2536-4B56-8AB1-ACBD9E1B2C5C}" destId="{03D29AE1-4449-4DE3-A023-86F969CE6A3B}" srcOrd="9" destOrd="0" presId="urn:microsoft.com/office/officeart/2008/layout/VerticalCurvedList"/>
    <dgm:cxn modelId="{457EF162-0589-453B-9D09-D4C3E5DE1FA4}" type="presParOf" srcId="{B2F26DB3-2536-4B56-8AB1-ACBD9E1B2C5C}" destId="{E8F37C79-BEBE-45DD-BCB9-EA143F2CA083}" srcOrd="10" destOrd="0" presId="urn:microsoft.com/office/officeart/2008/layout/VerticalCurvedList"/>
    <dgm:cxn modelId="{3DDD628E-C165-47E6-B628-5060D1FD4458}" type="presParOf" srcId="{E8F37C79-BEBE-45DD-BCB9-EA143F2CA083}" destId="{91D55668-ACC9-4242-A908-289F1030F0B3}" srcOrd="0" destOrd="0" presId="urn:microsoft.com/office/officeart/2008/layout/VerticalCurvedList"/>
    <dgm:cxn modelId="{9CD95765-CC57-46D8-9A33-166BCF35A00D}" type="presParOf" srcId="{B2F26DB3-2536-4B56-8AB1-ACBD9E1B2C5C}" destId="{88B614A0-0567-4F2D-B2B2-F83BFA3B4526}" srcOrd="11" destOrd="0" presId="urn:microsoft.com/office/officeart/2008/layout/VerticalCurvedList"/>
    <dgm:cxn modelId="{72855711-ACD9-4664-970C-59DD43647253}" type="presParOf" srcId="{B2F26DB3-2536-4B56-8AB1-ACBD9E1B2C5C}" destId="{7BA05796-4DC6-43AD-9A37-68DE7BB1134B}" srcOrd="12" destOrd="0" presId="urn:microsoft.com/office/officeart/2008/layout/VerticalCurvedList"/>
    <dgm:cxn modelId="{E29B392D-0B74-426E-9007-3677D4B0CD44}" type="presParOf" srcId="{7BA05796-4DC6-43AD-9A37-68DE7BB1134B}" destId="{D47FFDD6-F087-47F0-BA26-080C7BFE26AA}" srcOrd="0" destOrd="0" presId="urn:microsoft.com/office/officeart/2008/layout/VerticalCurvedList"/>
    <dgm:cxn modelId="{D5340E37-51A7-49EB-99FD-9F8E5C20A984}" type="presParOf" srcId="{B2F26DB3-2536-4B56-8AB1-ACBD9E1B2C5C}" destId="{7B531F08-90CC-47F3-9A72-F060C4EBFEFA}" srcOrd="13" destOrd="0" presId="urn:microsoft.com/office/officeart/2008/layout/VerticalCurvedList"/>
    <dgm:cxn modelId="{309D50E2-4EDC-4BA5-AE60-CD3890CF5375}" type="presParOf" srcId="{B2F26DB3-2536-4B56-8AB1-ACBD9E1B2C5C}" destId="{C2374CA1-4BBA-40FB-AA28-BC2764748C14}" srcOrd="14" destOrd="0" presId="urn:microsoft.com/office/officeart/2008/layout/VerticalCurvedList"/>
    <dgm:cxn modelId="{BDBBE282-02E9-46BA-8F33-49F5DD786C97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D0D2E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>
        <a:solidFill>
          <a:srgbClr val="C3C7D9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dirty="0">
              <a:solidFill>
                <a:schemeClr val="bg2"/>
              </a:solidFill>
              <a:latin typeface="+mj-lt"/>
            </a:rPr>
            <a:t>REGISTRO EN ARIBA SOURCING</a:t>
          </a: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>
        <a:solidFill>
          <a:srgbClr val="D1D3DF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dirty="0">
              <a:solidFill>
                <a:schemeClr val="bg1"/>
              </a:solidFill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>
        <a:solidFill>
          <a:srgbClr val="D1D3DF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dirty="0">
              <a:solidFill>
                <a:schemeClr val="bg1"/>
              </a:solidFill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>
        <a:solidFill>
          <a:srgbClr val="0054C7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6: </a:t>
          </a:r>
          <a:r>
            <a:rPr lang="es-PE" sz="1500" b="0" dirty="0">
              <a:solidFill>
                <a:schemeClr val="bg1"/>
              </a:solidFill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/>
      <dgm:t>
        <a:bodyPr/>
        <a:lstStyle/>
        <a:p>
          <a:r>
            <a:rPr lang="es-PE" sz="1500" b="1" dirty="0">
              <a:latin typeface="+mj-lt"/>
            </a:rPr>
            <a:t>PASO 7: </a:t>
          </a:r>
          <a:r>
            <a:rPr lang="es-PE" sz="1500" dirty="0"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>
        <a:solidFill>
          <a:srgbClr val="D2D4E1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FC4BEE81-37FA-45EA-B8A1-E4589B91B1E6}" type="presOf" srcId="{D83CA26B-B79B-4BF3-B103-7BC5B3B8C86B}" destId="{8CB43088-37D2-42C0-80C6-9DE564B0B032}" srcOrd="0" destOrd="0" presId="urn:microsoft.com/office/officeart/2008/layout/VerticalCurvedList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06510177-EDEA-44F5-B575-F2DB87B0CDD8}" type="presOf" srcId="{373AD536-D984-446B-8B11-F6D93DB96E5E}" destId="{8A9F4BD1-72EA-4FA7-BBD6-86CECE20947E}" srcOrd="0" destOrd="0" presId="urn:microsoft.com/office/officeart/2008/layout/VerticalCurvedList"/>
    <dgm:cxn modelId="{FD1B10EB-05E7-448B-BB26-C9B88EA38F5B}" type="presOf" srcId="{DE40AF2B-3225-4CC5-A71A-34004BE0875E}" destId="{88B614A0-0567-4F2D-B2B2-F83BFA3B4526}" srcOrd="0" destOrd="0" presId="urn:microsoft.com/office/officeart/2008/layout/VerticalCurvedList"/>
    <dgm:cxn modelId="{622C4EAC-E736-44FF-A50F-A096B086DB61}" type="presOf" srcId="{4DD36E5E-47F8-41F5-A250-261C4908CD0E}" destId="{03D29AE1-4449-4DE3-A023-86F969CE6A3B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51ABD742-63FC-4F73-86D4-A8529CC2B15A}" type="presOf" srcId="{54DB3862-5A1D-445E-931E-1A628A0296DB}" destId="{BEB6FDFA-82F6-40D8-B2D6-24F4052A9FB2}" srcOrd="0" destOrd="0" presId="urn:microsoft.com/office/officeart/2008/layout/VerticalCurvedList"/>
    <dgm:cxn modelId="{B3C3CCDE-B2D1-4C73-A99F-4996A6EAF3EB}" type="presOf" srcId="{AC214AE1-4D3D-4ACC-B4D4-280EBD06D3FB}" destId="{FAFBEBF9-3E4D-48BD-8856-0574A6E0DA32}" srcOrd="0" destOrd="0" presId="urn:microsoft.com/office/officeart/2008/layout/VerticalCurvedList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68A028D9-0CD8-4944-86E6-B72E8A4560AF}" type="presOf" srcId="{1CB3B335-E036-4DCD-B8EB-B7B4B9E434A7}" destId="{73840F37-B9C6-4693-B5A1-AFE4241D7801}" srcOrd="0" destOrd="0" presId="urn:microsoft.com/office/officeart/2008/layout/VerticalCurvedList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5C5ADD25-D940-4A3A-9D57-932437739BB8}" type="presOf" srcId="{156DCBB4-6868-4657-8E9D-0B7EF16717EC}" destId="{7B531F08-90CC-47F3-9A72-F060C4EBFEFA}" srcOrd="0" destOrd="0" presId="urn:microsoft.com/office/officeart/2008/layout/VerticalCurvedList"/>
    <dgm:cxn modelId="{E2CD7FA1-5BDC-4AA4-B3C1-F3E0A040B055}" type="presOf" srcId="{6BCE9CCE-03DD-41E5-AF05-C51C1537C7B1}" destId="{434E6F52-50E8-4101-B913-649D0D9CF636}" srcOrd="0" destOrd="0" presId="urn:microsoft.com/office/officeart/2008/layout/VerticalCurvedList"/>
    <dgm:cxn modelId="{D7E72178-9205-4DEE-B791-91B6301D0FBD}" type="presParOf" srcId="{BEB6FDFA-82F6-40D8-B2D6-24F4052A9FB2}" destId="{B2F26DB3-2536-4B56-8AB1-ACBD9E1B2C5C}" srcOrd="0" destOrd="0" presId="urn:microsoft.com/office/officeart/2008/layout/VerticalCurvedList"/>
    <dgm:cxn modelId="{DE7B03F5-8029-481B-A29F-85BEEB8A770B}" type="presParOf" srcId="{B2F26DB3-2536-4B56-8AB1-ACBD9E1B2C5C}" destId="{FDE09A13-0F22-4B9D-BDE7-2EC93D43CD97}" srcOrd="0" destOrd="0" presId="urn:microsoft.com/office/officeart/2008/layout/VerticalCurvedList"/>
    <dgm:cxn modelId="{1EF91B9E-F3EF-4371-A674-681489AFC967}" type="presParOf" srcId="{FDE09A13-0F22-4B9D-BDE7-2EC93D43CD97}" destId="{B3A3138E-38C1-4FD1-B81B-C6B723949C1D}" srcOrd="0" destOrd="0" presId="urn:microsoft.com/office/officeart/2008/layout/VerticalCurvedList"/>
    <dgm:cxn modelId="{678654C6-C406-4E2B-808A-BC0A72E08B4C}" type="presParOf" srcId="{FDE09A13-0F22-4B9D-BDE7-2EC93D43CD97}" destId="{8A9F4BD1-72EA-4FA7-BBD6-86CECE20947E}" srcOrd="1" destOrd="0" presId="urn:microsoft.com/office/officeart/2008/layout/VerticalCurvedList"/>
    <dgm:cxn modelId="{CED463B0-3707-44EB-895D-0A060DA720FB}" type="presParOf" srcId="{FDE09A13-0F22-4B9D-BDE7-2EC93D43CD97}" destId="{77B226B4-5A6D-420C-9206-6586E7406D1A}" srcOrd="2" destOrd="0" presId="urn:microsoft.com/office/officeart/2008/layout/VerticalCurvedList"/>
    <dgm:cxn modelId="{8F8674CE-8473-4330-8C26-6D3015D56119}" type="presParOf" srcId="{FDE09A13-0F22-4B9D-BDE7-2EC93D43CD97}" destId="{10917D27-9907-4CFF-804F-6F76DF6F6802}" srcOrd="3" destOrd="0" presId="urn:microsoft.com/office/officeart/2008/layout/VerticalCurvedList"/>
    <dgm:cxn modelId="{343E456E-A75E-46CE-A61F-ADFFA1FD713B}" type="presParOf" srcId="{B2F26DB3-2536-4B56-8AB1-ACBD9E1B2C5C}" destId="{8CB43088-37D2-42C0-80C6-9DE564B0B032}" srcOrd="1" destOrd="0" presId="urn:microsoft.com/office/officeart/2008/layout/VerticalCurvedList"/>
    <dgm:cxn modelId="{72E3B028-0A32-4B49-9FBF-E816584C4927}" type="presParOf" srcId="{B2F26DB3-2536-4B56-8AB1-ACBD9E1B2C5C}" destId="{B4480F6D-1C82-4F14-81F9-81A134869499}" srcOrd="2" destOrd="0" presId="urn:microsoft.com/office/officeart/2008/layout/VerticalCurvedList"/>
    <dgm:cxn modelId="{5F345F68-1865-426C-891D-9E5312AC28D5}" type="presParOf" srcId="{B4480F6D-1C82-4F14-81F9-81A134869499}" destId="{B20CD4B4-3291-4905-89C1-0CA8F2725B5B}" srcOrd="0" destOrd="0" presId="urn:microsoft.com/office/officeart/2008/layout/VerticalCurvedList"/>
    <dgm:cxn modelId="{A68EA555-F8C6-416A-96CB-DE9396C4FFA3}" type="presParOf" srcId="{B2F26DB3-2536-4B56-8AB1-ACBD9E1B2C5C}" destId="{73840F37-B9C6-4693-B5A1-AFE4241D7801}" srcOrd="3" destOrd="0" presId="urn:microsoft.com/office/officeart/2008/layout/VerticalCurvedList"/>
    <dgm:cxn modelId="{C110D7E9-DF74-47BF-9665-2CEA077E875C}" type="presParOf" srcId="{B2F26DB3-2536-4B56-8AB1-ACBD9E1B2C5C}" destId="{5C61CBAF-FA16-4F3C-B10F-F4A64362E262}" srcOrd="4" destOrd="0" presId="urn:microsoft.com/office/officeart/2008/layout/VerticalCurvedList"/>
    <dgm:cxn modelId="{45C6E359-1574-4F77-8A86-33C566B31FC5}" type="presParOf" srcId="{5C61CBAF-FA16-4F3C-B10F-F4A64362E262}" destId="{B472731E-6A63-48C2-94C5-5D710CCAC4BE}" srcOrd="0" destOrd="0" presId="urn:microsoft.com/office/officeart/2008/layout/VerticalCurvedList"/>
    <dgm:cxn modelId="{0C4B02F2-DEBB-4C30-A5FC-A9B6946D0085}" type="presParOf" srcId="{B2F26DB3-2536-4B56-8AB1-ACBD9E1B2C5C}" destId="{434E6F52-50E8-4101-B913-649D0D9CF636}" srcOrd="5" destOrd="0" presId="urn:microsoft.com/office/officeart/2008/layout/VerticalCurvedList"/>
    <dgm:cxn modelId="{A5FFFF18-63DE-4DAA-B6D0-D25478B2252C}" type="presParOf" srcId="{B2F26DB3-2536-4B56-8AB1-ACBD9E1B2C5C}" destId="{377FE4C4-9645-4B0D-854C-73DB6EC23D26}" srcOrd="6" destOrd="0" presId="urn:microsoft.com/office/officeart/2008/layout/VerticalCurvedList"/>
    <dgm:cxn modelId="{3D7E2320-A07C-4D1A-AAEB-63403D1E13CA}" type="presParOf" srcId="{377FE4C4-9645-4B0D-854C-73DB6EC23D26}" destId="{FDC26D00-5A59-43DD-BD94-4648E5281EB8}" srcOrd="0" destOrd="0" presId="urn:microsoft.com/office/officeart/2008/layout/VerticalCurvedList"/>
    <dgm:cxn modelId="{47EA9325-BACE-45DF-A03C-1BA4B4AC8589}" type="presParOf" srcId="{B2F26DB3-2536-4B56-8AB1-ACBD9E1B2C5C}" destId="{FAFBEBF9-3E4D-48BD-8856-0574A6E0DA32}" srcOrd="7" destOrd="0" presId="urn:microsoft.com/office/officeart/2008/layout/VerticalCurvedList"/>
    <dgm:cxn modelId="{D00798F4-A8C6-4877-AF3F-4C8ADE112F71}" type="presParOf" srcId="{B2F26DB3-2536-4B56-8AB1-ACBD9E1B2C5C}" destId="{11814042-0638-4A20-9236-B6A6FFDFB4A7}" srcOrd="8" destOrd="0" presId="urn:microsoft.com/office/officeart/2008/layout/VerticalCurvedList"/>
    <dgm:cxn modelId="{F1EC5F53-2528-4104-8C43-FB5B4756A169}" type="presParOf" srcId="{11814042-0638-4A20-9236-B6A6FFDFB4A7}" destId="{24A303EB-B958-40A3-9D30-49736A2D150B}" srcOrd="0" destOrd="0" presId="urn:microsoft.com/office/officeart/2008/layout/VerticalCurvedList"/>
    <dgm:cxn modelId="{C9079164-3ECD-416F-8EAC-9FD8F905B982}" type="presParOf" srcId="{B2F26DB3-2536-4B56-8AB1-ACBD9E1B2C5C}" destId="{03D29AE1-4449-4DE3-A023-86F969CE6A3B}" srcOrd="9" destOrd="0" presId="urn:microsoft.com/office/officeart/2008/layout/VerticalCurvedList"/>
    <dgm:cxn modelId="{22183036-1E65-463E-91AD-49B21BA29958}" type="presParOf" srcId="{B2F26DB3-2536-4B56-8AB1-ACBD9E1B2C5C}" destId="{E8F37C79-BEBE-45DD-BCB9-EA143F2CA083}" srcOrd="10" destOrd="0" presId="urn:microsoft.com/office/officeart/2008/layout/VerticalCurvedList"/>
    <dgm:cxn modelId="{41A8FA40-970E-4AA8-82EA-68B6280711BE}" type="presParOf" srcId="{E8F37C79-BEBE-45DD-BCB9-EA143F2CA083}" destId="{91D55668-ACC9-4242-A908-289F1030F0B3}" srcOrd="0" destOrd="0" presId="urn:microsoft.com/office/officeart/2008/layout/VerticalCurvedList"/>
    <dgm:cxn modelId="{628919B5-C493-4E1B-A9C2-96CBFF3CDFAE}" type="presParOf" srcId="{B2F26DB3-2536-4B56-8AB1-ACBD9E1B2C5C}" destId="{88B614A0-0567-4F2D-B2B2-F83BFA3B4526}" srcOrd="11" destOrd="0" presId="urn:microsoft.com/office/officeart/2008/layout/VerticalCurvedList"/>
    <dgm:cxn modelId="{8816BCB3-9AC4-475F-9E85-2ECEDFFDA3C2}" type="presParOf" srcId="{B2F26DB3-2536-4B56-8AB1-ACBD9E1B2C5C}" destId="{7BA05796-4DC6-43AD-9A37-68DE7BB1134B}" srcOrd="12" destOrd="0" presId="urn:microsoft.com/office/officeart/2008/layout/VerticalCurvedList"/>
    <dgm:cxn modelId="{1F2E3024-D000-4B85-807A-ABE23492787F}" type="presParOf" srcId="{7BA05796-4DC6-43AD-9A37-68DE7BB1134B}" destId="{D47FFDD6-F087-47F0-BA26-080C7BFE26AA}" srcOrd="0" destOrd="0" presId="urn:microsoft.com/office/officeart/2008/layout/VerticalCurvedList"/>
    <dgm:cxn modelId="{8208F5B8-60C5-4FCF-ADD7-A3E86EAF763C}" type="presParOf" srcId="{B2F26DB3-2536-4B56-8AB1-ACBD9E1B2C5C}" destId="{7B531F08-90CC-47F3-9A72-F060C4EBFEFA}" srcOrd="13" destOrd="0" presId="urn:microsoft.com/office/officeart/2008/layout/VerticalCurvedList"/>
    <dgm:cxn modelId="{B01E0D7B-9E19-4C18-8ADC-27E9C0A11A80}" type="presParOf" srcId="{B2F26DB3-2536-4B56-8AB1-ACBD9E1B2C5C}" destId="{C2374CA1-4BBA-40FB-AA28-BC2764748C14}" srcOrd="14" destOrd="0" presId="urn:microsoft.com/office/officeart/2008/layout/VerticalCurvedList"/>
    <dgm:cxn modelId="{0A44CEB3-F29E-4082-9127-D176E66EEDA8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4DB3862-5A1D-445E-931E-1A628A0296DB}" type="doc">
      <dgm:prSet loTypeId="urn:microsoft.com/office/officeart/2008/layout/VerticalCurvedList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s-PE"/>
        </a:p>
      </dgm:t>
    </dgm:pt>
    <dgm:pt modelId="{D83CA26B-B79B-4BF3-B103-7BC5B3B8C86B}">
      <dgm:prSet phldrT="[Texto]" custT="1"/>
      <dgm:spPr>
        <a:solidFill>
          <a:srgbClr val="D0D2E0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dirty="0">
              <a:solidFill>
                <a:schemeClr val="bg2"/>
              </a:solidFill>
              <a:latin typeface="+mj-lt"/>
            </a:rPr>
            <a:t>CONOCIMIENTOS PREVIOS</a:t>
          </a:r>
        </a:p>
      </dgm:t>
    </dgm:pt>
    <dgm:pt modelId="{B155283D-CCA1-4A2B-AAB3-4FBD7B7DEE3B}" type="par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373AD536-D984-446B-8B11-F6D93DB96E5E}" type="sibTrans" cxnId="{8673792B-5126-47E8-BE71-D4493C3BC6A8}">
      <dgm:prSet/>
      <dgm:spPr/>
      <dgm:t>
        <a:bodyPr/>
        <a:lstStyle/>
        <a:p>
          <a:endParaRPr lang="es-PE" sz="1000">
            <a:solidFill>
              <a:schemeClr val="tx1">
                <a:lumMod val="90000"/>
                <a:lumOff val="10000"/>
              </a:schemeClr>
            </a:solidFill>
          </a:endParaRPr>
        </a:p>
      </dgm:t>
    </dgm:pt>
    <dgm:pt modelId="{1CB3B335-E036-4DCD-B8EB-B7B4B9E434A7}">
      <dgm:prSet custT="1"/>
      <dgm:spPr>
        <a:solidFill>
          <a:srgbClr val="C3C7D9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dirty="0">
              <a:solidFill>
                <a:schemeClr val="bg2"/>
              </a:solidFill>
              <a:latin typeface="+mj-lt"/>
            </a:rPr>
            <a:t>REGISTRO EN ARIBA SOURCING</a:t>
          </a:r>
        </a:p>
      </dgm:t>
    </dgm:pt>
    <dgm:pt modelId="{3218810A-76A7-444B-82B6-2327606177BE}" type="parTrans" cxnId="{7A3E9943-6360-4031-8B0D-77AE883F4864}">
      <dgm:prSet/>
      <dgm:spPr/>
      <dgm:t>
        <a:bodyPr/>
        <a:lstStyle/>
        <a:p>
          <a:endParaRPr lang="es-PE"/>
        </a:p>
      </dgm:t>
    </dgm:pt>
    <dgm:pt modelId="{D6126FE5-6C69-4644-BF1B-D44E5B2884C4}" type="sibTrans" cxnId="{7A3E9943-6360-4031-8B0D-77AE883F4864}">
      <dgm:prSet/>
      <dgm:spPr/>
      <dgm:t>
        <a:bodyPr/>
        <a:lstStyle/>
        <a:p>
          <a:endParaRPr lang="es-PE"/>
        </a:p>
      </dgm:t>
    </dgm:pt>
    <dgm:pt modelId="{AC214AE1-4D3D-4ACC-B4D4-280EBD06D3FB}">
      <dgm:prSet custT="1"/>
      <dgm:spPr>
        <a:solidFill>
          <a:srgbClr val="D1D3DF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dirty="0">
              <a:solidFill>
                <a:schemeClr val="bg1"/>
              </a:solidFill>
              <a:latin typeface="+mj-lt"/>
            </a:rPr>
            <a:t>MENSAJERÍA DE ARIBA SOURCING</a:t>
          </a:r>
        </a:p>
      </dgm:t>
    </dgm:pt>
    <dgm:pt modelId="{9BBD59FD-B865-4BD9-8E53-B8DDDA18559F}" type="parTrans" cxnId="{D04EB6CB-02B0-427F-BAA8-BD30E51591DF}">
      <dgm:prSet/>
      <dgm:spPr/>
      <dgm:t>
        <a:bodyPr/>
        <a:lstStyle/>
        <a:p>
          <a:endParaRPr lang="es-PE"/>
        </a:p>
      </dgm:t>
    </dgm:pt>
    <dgm:pt modelId="{4059BCEA-A342-4DDC-B5BF-DFD8B262A70E}" type="sibTrans" cxnId="{D04EB6CB-02B0-427F-BAA8-BD30E51591DF}">
      <dgm:prSet/>
      <dgm:spPr/>
      <dgm:t>
        <a:bodyPr/>
        <a:lstStyle/>
        <a:p>
          <a:endParaRPr lang="es-PE"/>
        </a:p>
      </dgm:t>
    </dgm:pt>
    <dgm:pt modelId="{4DD36E5E-47F8-41F5-A250-261C4908CD0E}">
      <dgm:prSet custT="1"/>
      <dgm:spPr>
        <a:solidFill>
          <a:srgbClr val="D1D3DF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dirty="0">
              <a:solidFill>
                <a:schemeClr val="bg1"/>
              </a:solidFill>
              <a:latin typeface="+mj-lt"/>
            </a:rPr>
            <a:t>CENTRO DE AYUDA</a:t>
          </a:r>
        </a:p>
      </dgm:t>
    </dgm:pt>
    <dgm:pt modelId="{FB84C9EE-07C4-43EE-9028-4F905A4C061F}" type="parTrans" cxnId="{38868FE3-C897-4A32-B071-5868341FB742}">
      <dgm:prSet/>
      <dgm:spPr/>
      <dgm:t>
        <a:bodyPr/>
        <a:lstStyle/>
        <a:p>
          <a:endParaRPr lang="es-PE"/>
        </a:p>
      </dgm:t>
    </dgm:pt>
    <dgm:pt modelId="{9ABEE3B0-C4E3-4587-8869-D408A3EB57E8}" type="sibTrans" cxnId="{38868FE3-C897-4A32-B071-5868341FB742}">
      <dgm:prSet/>
      <dgm:spPr/>
      <dgm:t>
        <a:bodyPr/>
        <a:lstStyle/>
        <a:p>
          <a:endParaRPr lang="es-PE"/>
        </a:p>
      </dgm:t>
    </dgm:pt>
    <dgm:pt modelId="{DE40AF2B-3225-4CC5-A71A-34004BE0875E}">
      <dgm:prSet custT="1"/>
      <dgm:spPr>
        <a:solidFill>
          <a:srgbClr val="D1D3DF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6: </a:t>
          </a:r>
          <a:r>
            <a:rPr lang="es-PE" sz="1500" b="0" dirty="0">
              <a:solidFill>
                <a:schemeClr val="bg1"/>
              </a:solidFill>
              <a:latin typeface="+mj-lt"/>
            </a:rPr>
            <a:t>LINEAMIENTOS DEL GRUPO GLORIA</a:t>
          </a:r>
        </a:p>
      </dgm:t>
    </dgm:pt>
    <dgm:pt modelId="{82DF30ED-2103-49AC-B8A6-3DFCC2AB6498}" type="parTrans" cxnId="{86474BA9-C920-41DA-9427-F4A58E587175}">
      <dgm:prSet/>
      <dgm:spPr/>
      <dgm:t>
        <a:bodyPr/>
        <a:lstStyle/>
        <a:p>
          <a:endParaRPr lang="es-PE"/>
        </a:p>
      </dgm:t>
    </dgm:pt>
    <dgm:pt modelId="{6DD4CA43-72F0-463A-B074-D31E53F34124}" type="sibTrans" cxnId="{86474BA9-C920-41DA-9427-F4A58E587175}">
      <dgm:prSet/>
      <dgm:spPr/>
      <dgm:t>
        <a:bodyPr/>
        <a:lstStyle/>
        <a:p>
          <a:endParaRPr lang="es-PE"/>
        </a:p>
      </dgm:t>
    </dgm:pt>
    <dgm:pt modelId="{156DCBB4-6868-4657-8E9D-0B7EF16717EC}">
      <dgm:prSet custT="1"/>
      <dgm:spPr>
        <a:solidFill>
          <a:srgbClr val="0054C7"/>
        </a:solidFill>
      </dgm:spPr>
      <dgm:t>
        <a:bodyPr/>
        <a:lstStyle/>
        <a:p>
          <a:r>
            <a:rPr lang="es-PE" sz="1500" b="1" dirty="0">
              <a:solidFill>
                <a:schemeClr val="bg1"/>
              </a:solidFill>
              <a:latin typeface="+mj-lt"/>
            </a:rPr>
            <a:t>PASO 7: </a:t>
          </a:r>
          <a:r>
            <a:rPr lang="es-PE" sz="1500" dirty="0">
              <a:solidFill>
                <a:schemeClr val="bg1"/>
              </a:solidFill>
              <a:latin typeface="+mj-lt"/>
            </a:rPr>
            <a:t>PREGUNTAS</a:t>
          </a:r>
        </a:p>
      </dgm:t>
    </dgm:pt>
    <dgm:pt modelId="{795F396D-9A1D-46FA-A56D-C028002F0F1D}" type="parTrans" cxnId="{FE7B7DAB-3A37-4F10-81C8-E61462237A39}">
      <dgm:prSet/>
      <dgm:spPr/>
      <dgm:t>
        <a:bodyPr/>
        <a:lstStyle/>
        <a:p>
          <a:endParaRPr lang="es-PE"/>
        </a:p>
      </dgm:t>
    </dgm:pt>
    <dgm:pt modelId="{2FB43FE4-DEAE-4AE2-A3E6-5AC957E076F9}" type="sibTrans" cxnId="{FE7B7DAB-3A37-4F10-81C8-E61462237A39}">
      <dgm:prSet/>
      <dgm:spPr/>
      <dgm:t>
        <a:bodyPr/>
        <a:lstStyle/>
        <a:p>
          <a:endParaRPr lang="es-PE"/>
        </a:p>
      </dgm:t>
    </dgm:pt>
    <dgm:pt modelId="{DD079C98-F61F-4CF9-BCC9-DF3FFD6D71AB}">
      <dgm:prSet phldrT="[Texto]" custT="1"/>
      <dgm:spPr/>
      <dgm:t>
        <a:bodyPr/>
        <a:lstStyle/>
        <a:p>
          <a:endParaRPr lang="es-PE"/>
        </a:p>
      </dgm:t>
    </dgm:pt>
    <dgm:pt modelId="{1B63BC67-DC7D-41D3-93EC-CC939C7AA10E}" type="parTrans" cxnId="{3D77D4F8-1AC9-4D80-9314-7F90D6F8AEDF}">
      <dgm:prSet/>
      <dgm:spPr/>
      <dgm:t>
        <a:bodyPr/>
        <a:lstStyle/>
        <a:p>
          <a:endParaRPr lang="es-PE"/>
        </a:p>
      </dgm:t>
    </dgm:pt>
    <dgm:pt modelId="{43605BF7-4FD6-4E5C-AE23-5FC9940DD9C8}" type="sibTrans" cxnId="{3D77D4F8-1AC9-4D80-9314-7F90D6F8AEDF}">
      <dgm:prSet/>
      <dgm:spPr/>
      <dgm:t>
        <a:bodyPr/>
        <a:lstStyle/>
        <a:p>
          <a:endParaRPr lang="es-PE"/>
        </a:p>
      </dgm:t>
    </dgm:pt>
    <dgm:pt modelId="{6BCE9CCE-03DD-41E5-AF05-C51C1537C7B1}">
      <dgm:prSet custT="1"/>
      <dgm:spPr>
        <a:solidFill>
          <a:srgbClr val="D2D4E1"/>
        </a:solidFill>
      </dgm:spPr>
      <dgm:t>
        <a:bodyPr/>
        <a:lstStyle/>
        <a:p>
          <a:r>
            <a:rPr lang="es-PE" sz="1500" b="1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gm:t>
    </dgm:pt>
    <dgm:pt modelId="{A37E98D0-1407-49F4-A15B-56E5108D5AD6}" type="parTrans" cxnId="{005CBABC-369D-44A1-A7FD-147D5E7C7C87}">
      <dgm:prSet/>
      <dgm:spPr/>
      <dgm:t>
        <a:bodyPr/>
        <a:lstStyle/>
        <a:p>
          <a:endParaRPr lang="es-PE"/>
        </a:p>
      </dgm:t>
    </dgm:pt>
    <dgm:pt modelId="{84701361-92B7-43EF-A406-9532C5C9045C}" type="sibTrans" cxnId="{005CBABC-369D-44A1-A7FD-147D5E7C7C87}">
      <dgm:prSet/>
      <dgm:spPr/>
      <dgm:t>
        <a:bodyPr/>
        <a:lstStyle/>
        <a:p>
          <a:endParaRPr lang="es-PE"/>
        </a:p>
      </dgm:t>
    </dgm:pt>
    <dgm:pt modelId="{BEB6FDFA-82F6-40D8-B2D6-24F4052A9FB2}" type="pres">
      <dgm:prSet presAssocID="{54DB3862-5A1D-445E-931E-1A628A0296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B2F26DB3-2536-4B56-8AB1-ACBD9E1B2C5C}" type="pres">
      <dgm:prSet presAssocID="{54DB3862-5A1D-445E-931E-1A628A0296DB}" presName="Name1" presStyleCnt="0"/>
      <dgm:spPr/>
    </dgm:pt>
    <dgm:pt modelId="{FDE09A13-0F22-4B9D-BDE7-2EC93D43CD97}" type="pres">
      <dgm:prSet presAssocID="{54DB3862-5A1D-445E-931E-1A628A0296DB}" presName="cycle" presStyleCnt="0"/>
      <dgm:spPr/>
    </dgm:pt>
    <dgm:pt modelId="{B3A3138E-38C1-4FD1-B81B-C6B723949C1D}" type="pres">
      <dgm:prSet presAssocID="{54DB3862-5A1D-445E-931E-1A628A0296DB}" presName="srcNode" presStyleLbl="node1" presStyleIdx="0" presStyleCnt="7"/>
      <dgm:spPr/>
    </dgm:pt>
    <dgm:pt modelId="{8A9F4BD1-72EA-4FA7-BBD6-86CECE20947E}" type="pres">
      <dgm:prSet presAssocID="{54DB3862-5A1D-445E-931E-1A628A0296DB}" presName="conn" presStyleLbl="parChTrans1D2" presStyleIdx="0" presStyleCnt="1"/>
      <dgm:spPr/>
      <dgm:t>
        <a:bodyPr/>
        <a:lstStyle/>
        <a:p>
          <a:endParaRPr lang="es-ES"/>
        </a:p>
      </dgm:t>
    </dgm:pt>
    <dgm:pt modelId="{77B226B4-5A6D-420C-9206-6586E7406D1A}" type="pres">
      <dgm:prSet presAssocID="{54DB3862-5A1D-445E-931E-1A628A0296DB}" presName="extraNode" presStyleLbl="node1" presStyleIdx="0" presStyleCnt="7"/>
      <dgm:spPr/>
    </dgm:pt>
    <dgm:pt modelId="{10917D27-9907-4CFF-804F-6F76DF6F6802}" type="pres">
      <dgm:prSet presAssocID="{54DB3862-5A1D-445E-931E-1A628A0296DB}" presName="dstNode" presStyleLbl="node1" presStyleIdx="0" presStyleCnt="7"/>
      <dgm:spPr/>
    </dgm:pt>
    <dgm:pt modelId="{8CB43088-37D2-42C0-80C6-9DE564B0B032}" type="pres">
      <dgm:prSet presAssocID="{D83CA26B-B79B-4BF3-B103-7BC5B3B8C86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4480F6D-1C82-4F14-81F9-81A134869499}" type="pres">
      <dgm:prSet presAssocID="{D83CA26B-B79B-4BF3-B103-7BC5B3B8C86B}" presName="accent_1" presStyleCnt="0"/>
      <dgm:spPr/>
    </dgm:pt>
    <dgm:pt modelId="{B20CD4B4-3291-4905-89C1-0CA8F2725B5B}" type="pres">
      <dgm:prSet presAssocID="{D83CA26B-B79B-4BF3-B103-7BC5B3B8C86B}" presName="accentRepeatNode" presStyleLbl="solidFgAcc1" presStyleIdx="0" presStyleCnt="7"/>
      <dgm:spPr>
        <a:solidFill>
          <a:schemeClr val="bg1"/>
        </a:solidFill>
      </dgm:spPr>
    </dgm:pt>
    <dgm:pt modelId="{73840F37-B9C6-4693-B5A1-AFE4241D7801}" type="pres">
      <dgm:prSet presAssocID="{1CB3B335-E036-4DCD-B8EB-B7B4B9E434A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C61CBAF-FA16-4F3C-B10F-F4A64362E262}" type="pres">
      <dgm:prSet presAssocID="{1CB3B335-E036-4DCD-B8EB-B7B4B9E434A7}" presName="accent_2" presStyleCnt="0"/>
      <dgm:spPr/>
    </dgm:pt>
    <dgm:pt modelId="{B472731E-6A63-48C2-94C5-5D710CCAC4BE}" type="pres">
      <dgm:prSet presAssocID="{1CB3B335-E036-4DCD-B8EB-B7B4B9E434A7}" presName="accentRepeatNode" presStyleLbl="solidFgAcc1" presStyleIdx="1" presStyleCnt="7"/>
      <dgm:spPr/>
    </dgm:pt>
    <dgm:pt modelId="{434E6F52-50E8-4101-B913-649D0D9CF636}" type="pres">
      <dgm:prSet presAssocID="{6BCE9CCE-03DD-41E5-AF05-C51C1537C7B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77FE4C4-9645-4B0D-854C-73DB6EC23D26}" type="pres">
      <dgm:prSet presAssocID="{6BCE9CCE-03DD-41E5-AF05-C51C1537C7B1}" presName="accent_3" presStyleCnt="0"/>
      <dgm:spPr/>
    </dgm:pt>
    <dgm:pt modelId="{FDC26D00-5A59-43DD-BD94-4648E5281EB8}" type="pres">
      <dgm:prSet presAssocID="{6BCE9CCE-03DD-41E5-AF05-C51C1537C7B1}" presName="accentRepeatNode" presStyleLbl="solidFgAcc1" presStyleIdx="2" presStyleCnt="7"/>
      <dgm:spPr/>
    </dgm:pt>
    <dgm:pt modelId="{FAFBEBF9-3E4D-48BD-8856-0574A6E0DA32}" type="pres">
      <dgm:prSet presAssocID="{AC214AE1-4D3D-4ACC-B4D4-280EBD06D3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814042-0638-4A20-9236-B6A6FFDFB4A7}" type="pres">
      <dgm:prSet presAssocID="{AC214AE1-4D3D-4ACC-B4D4-280EBD06D3FB}" presName="accent_4" presStyleCnt="0"/>
      <dgm:spPr/>
    </dgm:pt>
    <dgm:pt modelId="{24A303EB-B958-40A3-9D30-49736A2D150B}" type="pres">
      <dgm:prSet presAssocID="{AC214AE1-4D3D-4ACC-B4D4-280EBD06D3FB}" presName="accentRepeatNode" presStyleLbl="solidFgAcc1" presStyleIdx="3" presStyleCnt="7"/>
      <dgm:spPr/>
    </dgm:pt>
    <dgm:pt modelId="{03D29AE1-4449-4DE3-A023-86F969CE6A3B}" type="pres">
      <dgm:prSet presAssocID="{4DD36E5E-47F8-41F5-A250-261C4908CD0E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F37C79-BEBE-45DD-BCB9-EA143F2CA083}" type="pres">
      <dgm:prSet presAssocID="{4DD36E5E-47F8-41F5-A250-261C4908CD0E}" presName="accent_5" presStyleCnt="0"/>
      <dgm:spPr/>
    </dgm:pt>
    <dgm:pt modelId="{91D55668-ACC9-4242-A908-289F1030F0B3}" type="pres">
      <dgm:prSet presAssocID="{4DD36E5E-47F8-41F5-A250-261C4908CD0E}" presName="accentRepeatNode" presStyleLbl="solidFgAcc1" presStyleIdx="4" presStyleCnt="7"/>
      <dgm:spPr/>
    </dgm:pt>
    <dgm:pt modelId="{88B614A0-0567-4F2D-B2B2-F83BFA3B4526}" type="pres">
      <dgm:prSet presAssocID="{DE40AF2B-3225-4CC5-A71A-34004BE0875E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A05796-4DC6-43AD-9A37-68DE7BB1134B}" type="pres">
      <dgm:prSet presAssocID="{DE40AF2B-3225-4CC5-A71A-34004BE0875E}" presName="accent_6" presStyleCnt="0"/>
      <dgm:spPr/>
    </dgm:pt>
    <dgm:pt modelId="{D47FFDD6-F087-47F0-BA26-080C7BFE26AA}" type="pres">
      <dgm:prSet presAssocID="{DE40AF2B-3225-4CC5-A71A-34004BE0875E}" presName="accentRepeatNode" presStyleLbl="solidFgAcc1" presStyleIdx="5" presStyleCnt="7"/>
      <dgm:spPr/>
    </dgm:pt>
    <dgm:pt modelId="{7B531F08-90CC-47F3-9A72-F060C4EBFEFA}" type="pres">
      <dgm:prSet presAssocID="{156DCBB4-6868-4657-8E9D-0B7EF16717EC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374CA1-4BBA-40FB-AA28-BC2764748C14}" type="pres">
      <dgm:prSet presAssocID="{156DCBB4-6868-4657-8E9D-0B7EF16717EC}" presName="accent_7" presStyleCnt="0"/>
      <dgm:spPr/>
    </dgm:pt>
    <dgm:pt modelId="{DD5B3DBA-CF34-473C-8C5A-A4733A1AA545}" type="pres">
      <dgm:prSet presAssocID="{156DCBB4-6868-4657-8E9D-0B7EF16717EC}" presName="accentRepeatNode" presStyleLbl="solidFgAcc1" presStyleIdx="6" presStyleCnt="7"/>
      <dgm:spPr/>
    </dgm:pt>
  </dgm:ptLst>
  <dgm:cxnLst>
    <dgm:cxn modelId="{BBD12976-CBB1-48E9-AAFD-D90C6C2184D1}" type="presOf" srcId="{AC214AE1-4D3D-4ACC-B4D4-280EBD06D3FB}" destId="{FAFBEBF9-3E4D-48BD-8856-0574A6E0DA32}" srcOrd="0" destOrd="0" presId="urn:microsoft.com/office/officeart/2008/layout/VerticalCurvedList"/>
    <dgm:cxn modelId="{6B03F981-31FD-49F5-A8A5-3561DF867C99}" type="presOf" srcId="{D83CA26B-B79B-4BF3-B103-7BC5B3B8C86B}" destId="{8CB43088-37D2-42C0-80C6-9DE564B0B032}" srcOrd="0" destOrd="0" presId="urn:microsoft.com/office/officeart/2008/layout/VerticalCurvedList"/>
    <dgm:cxn modelId="{005CBABC-369D-44A1-A7FD-147D5E7C7C87}" srcId="{54DB3862-5A1D-445E-931E-1A628A0296DB}" destId="{6BCE9CCE-03DD-41E5-AF05-C51C1537C7B1}" srcOrd="2" destOrd="0" parTransId="{A37E98D0-1407-49F4-A15B-56E5108D5AD6}" sibTransId="{84701361-92B7-43EF-A406-9532C5C9045C}"/>
    <dgm:cxn modelId="{8673792B-5126-47E8-BE71-D4493C3BC6A8}" srcId="{54DB3862-5A1D-445E-931E-1A628A0296DB}" destId="{D83CA26B-B79B-4BF3-B103-7BC5B3B8C86B}" srcOrd="0" destOrd="0" parTransId="{B155283D-CCA1-4A2B-AAB3-4FBD7B7DEE3B}" sibTransId="{373AD536-D984-446B-8B11-F6D93DB96E5E}"/>
    <dgm:cxn modelId="{38868FE3-C897-4A32-B071-5868341FB742}" srcId="{54DB3862-5A1D-445E-931E-1A628A0296DB}" destId="{4DD36E5E-47F8-41F5-A250-261C4908CD0E}" srcOrd="4" destOrd="0" parTransId="{FB84C9EE-07C4-43EE-9028-4F905A4C061F}" sibTransId="{9ABEE3B0-C4E3-4587-8869-D408A3EB57E8}"/>
    <dgm:cxn modelId="{86474BA9-C920-41DA-9427-F4A58E587175}" srcId="{54DB3862-5A1D-445E-931E-1A628A0296DB}" destId="{DE40AF2B-3225-4CC5-A71A-34004BE0875E}" srcOrd="5" destOrd="0" parTransId="{82DF30ED-2103-49AC-B8A6-3DFCC2AB6498}" sibTransId="{6DD4CA43-72F0-463A-B074-D31E53F34124}"/>
    <dgm:cxn modelId="{D04EB6CB-02B0-427F-BAA8-BD30E51591DF}" srcId="{54DB3862-5A1D-445E-931E-1A628A0296DB}" destId="{AC214AE1-4D3D-4ACC-B4D4-280EBD06D3FB}" srcOrd="3" destOrd="0" parTransId="{9BBD59FD-B865-4BD9-8E53-B8DDDA18559F}" sibTransId="{4059BCEA-A342-4DDC-B5BF-DFD8B262A70E}"/>
    <dgm:cxn modelId="{3B2FAB74-8DA4-4165-B39B-A1C5D778A1FA}" type="presOf" srcId="{6BCE9CCE-03DD-41E5-AF05-C51C1537C7B1}" destId="{434E6F52-50E8-4101-B913-649D0D9CF636}" srcOrd="0" destOrd="0" presId="urn:microsoft.com/office/officeart/2008/layout/VerticalCurvedList"/>
    <dgm:cxn modelId="{6325042F-28F8-48E8-93F5-C307493A3379}" type="presOf" srcId="{1CB3B335-E036-4DCD-B8EB-B7B4B9E434A7}" destId="{73840F37-B9C6-4693-B5A1-AFE4241D7801}" srcOrd="0" destOrd="0" presId="urn:microsoft.com/office/officeart/2008/layout/VerticalCurvedList"/>
    <dgm:cxn modelId="{5B9CDFB5-EF69-4B85-8C95-BCE37B1CB64F}" type="presOf" srcId="{4DD36E5E-47F8-41F5-A250-261C4908CD0E}" destId="{03D29AE1-4449-4DE3-A023-86F969CE6A3B}" srcOrd="0" destOrd="0" presId="urn:microsoft.com/office/officeart/2008/layout/VerticalCurvedList"/>
    <dgm:cxn modelId="{A063B81A-C926-497F-B18A-5E6A106B98F2}" type="presOf" srcId="{54DB3862-5A1D-445E-931E-1A628A0296DB}" destId="{BEB6FDFA-82F6-40D8-B2D6-24F4052A9FB2}" srcOrd="0" destOrd="0" presId="urn:microsoft.com/office/officeart/2008/layout/VerticalCurvedList"/>
    <dgm:cxn modelId="{3D77D4F8-1AC9-4D80-9314-7F90D6F8AEDF}" srcId="{54DB3862-5A1D-445E-931E-1A628A0296DB}" destId="{DD079C98-F61F-4CF9-BCC9-DF3FFD6D71AB}" srcOrd="7" destOrd="0" parTransId="{1B63BC67-DC7D-41D3-93EC-CC939C7AA10E}" sibTransId="{43605BF7-4FD6-4E5C-AE23-5FC9940DD9C8}"/>
    <dgm:cxn modelId="{FE7B7DAB-3A37-4F10-81C8-E61462237A39}" srcId="{54DB3862-5A1D-445E-931E-1A628A0296DB}" destId="{156DCBB4-6868-4657-8E9D-0B7EF16717EC}" srcOrd="6" destOrd="0" parTransId="{795F396D-9A1D-46FA-A56D-C028002F0F1D}" sibTransId="{2FB43FE4-DEAE-4AE2-A3E6-5AC957E076F9}"/>
    <dgm:cxn modelId="{FD643C73-7AD1-4EE0-9287-91BAD7BC4318}" type="presOf" srcId="{156DCBB4-6868-4657-8E9D-0B7EF16717EC}" destId="{7B531F08-90CC-47F3-9A72-F060C4EBFEFA}" srcOrd="0" destOrd="0" presId="urn:microsoft.com/office/officeart/2008/layout/VerticalCurvedList"/>
    <dgm:cxn modelId="{7A3E9943-6360-4031-8B0D-77AE883F4864}" srcId="{54DB3862-5A1D-445E-931E-1A628A0296DB}" destId="{1CB3B335-E036-4DCD-B8EB-B7B4B9E434A7}" srcOrd="1" destOrd="0" parTransId="{3218810A-76A7-444B-82B6-2327606177BE}" sibTransId="{D6126FE5-6C69-4644-BF1B-D44E5B2884C4}"/>
    <dgm:cxn modelId="{E7172083-B08A-4AE1-A37C-DFCBA8A2D5B9}" type="presOf" srcId="{DE40AF2B-3225-4CC5-A71A-34004BE0875E}" destId="{88B614A0-0567-4F2D-B2B2-F83BFA3B4526}" srcOrd="0" destOrd="0" presId="urn:microsoft.com/office/officeart/2008/layout/VerticalCurvedList"/>
    <dgm:cxn modelId="{6A7D8AB4-DD7E-4CFE-B2D8-013C6D1CB258}" type="presOf" srcId="{373AD536-D984-446B-8B11-F6D93DB96E5E}" destId="{8A9F4BD1-72EA-4FA7-BBD6-86CECE20947E}" srcOrd="0" destOrd="0" presId="urn:microsoft.com/office/officeart/2008/layout/VerticalCurvedList"/>
    <dgm:cxn modelId="{38141F66-BC52-41F1-8F6B-E76A92B6D285}" type="presParOf" srcId="{BEB6FDFA-82F6-40D8-B2D6-24F4052A9FB2}" destId="{B2F26DB3-2536-4B56-8AB1-ACBD9E1B2C5C}" srcOrd="0" destOrd="0" presId="urn:microsoft.com/office/officeart/2008/layout/VerticalCurvedList"/>
    <dgm:cxn modelId="{3D7AE4DC-B320-43C4-8129-AE76766BBCD9}" type="presParOf" srcId="{B2F26DB3-2536-4B56-8AB1-ACBD9E1B2C5C}" destId="{FDE09A13-0F22-4B9D-BDE7-2EC93D43CD97}" srcOrd="0" destOrd="0" presId="urn:microsoft.com/office/officeart/2008/layout/VerticalCurvedList"/>
    <dgm:cxn modelId="{E711CFAF-4838-4570-AEE1-9B2A765F6495}" type="presParOf" srcId="{FDE09A13-0F22-4B9D-BDE7-2EC93D43CD97}" destId="{B3A3138E-38C1-4FD1-B81B-C6B723949C1D}" srcOrd="0" destOrd="0" presId="urn:microsoft.com/office/officeart/2008/layout/VerticalCurvedList"/>
    <dgm:cxn modelId="{E3663491-122A-4818-BC5B-9EEFFFA0044D}" type="presParOf" srcId="{FDE09A13-0F22-4B9D-BDE7-2EC93D43CD97}" destId="{8A9F4BD1-72EA-4FA7-BBD6-86CECE20947E}" srcOrd="1" destOrd="0" presId="urn:microsoft.com/office/officeart/2008/layout/VerticalCurvedList"/>
    <dgm:cxn modelId="{794FED58-7A7F-4F62-B2B9-5E4E3B163733}" type="presParOf" srcId="{FDE09A13-0F22-4B9D-BDE7-2EC93D43CD97}" destId="{77B226B4-5A6D-420C-9206-6586E7406D1A}" srcOrd="2" destOrd="0" presId="urn:microsoft.com/office/officeart/2008/layout/VerticalCurvedList"/>
    <dgm:cxn modelId="{1A53B17E-DA3D-4D00-9451-2146E47F4503}" type="presParOf" srcId="{FDE09A13-0F22-4B9D-BDE7-2EC93D43CD97}" destId="{10917D27-9907-4CFF-804F-6F76DF6F6802}" srcOrd="3" destOrd="0" presId="urn:microsoft.com/office/officeart/2008/layout/VerticalCurvedList"/>
    <dgm:cxn modelId="{C6347DFF-5544-4A01-A8EF-AF95574A4514}" type="presParOf" srcId="{B2F26DB3-2536-4B56-8AB1-ACBD9E1B2C5C}" destId="{8CB43088-37D2-42C0-80C6-9DE564B0B032}" srcOrd="1" destOrd="0" presId="urn:microsoft.com/office/officeart/2008/layout/VerticalCurvedList"/>
    <dgm:cxn modelId="{4119F0C7-0B31-4C3F-BF77-D92C19256103}" type="presParOf" srcId="{B2F26DB3-2536-4B56-8AB1-ACBD9E1B2C5C}" destId="{B4480F6D-1C82-4F14-81F9-81A134869499}" srcOrd="2" destOrd="0" presId="urn:microsoft.com/office/officeart/2008/layout/VerticalCurvedList"/>
    <dgm:cxn modelId="{F6A7AFB7-FDD0-49FA-A4DB-292D23110235}" type="presParOf" srcId="{B4480F6D-1C82-4F14-81F9-81A134869499}" destId="{B20CD4B4-3291-4905-89C1-0CA8F2725B5B}" srcOrd="0" destOrd="0" presId="urn:microsoft.com/office/officeart/2008/layout/VerticalCurvedList"/>
    <dgm:cxn modelId="{0F736588-1432-40A6-82D0-6A368204CFB3}" type="presParOf" srcId="{B2F26DB3-2536-4B56-8AB1-ACBD9E1B2C5C}" destId="{73840F37-B9C6-4693-B5A1-AFE4241D7801}" srcOrd="3" destOrd="0" presId="urn:microsoft.com/office/officeart/2008/layout/VerticalCurvedList"/>
    <dgm:cxn modelId="{A7162161-5A06-4606-872C-8A6CAEA369AD}" type="presParOf" srcId="{B2F26DB3-2536-4B56-8AB1-ACBD9E1B2C5C}" destId="{5C61CBAF-FA16-4F3C-B10F-F4A64362E262}" srcOrd="4" destOrd="0" presId="urn:microsoft.com/office/officeart/2008/layout/VerticalCurvedList"/>
    <dgm:cxn modelId="{F4066506-142D-41DC-97F0-F59B6F8CD930}" type="presParOf" srcId="{5C61CBAF-FA16-4F3C-B10F-F4A64362E262}" destId="{B472731E-6A63-48C2-94C5-5D710CCAC4BE}" srcOrd="0" destOrd="0" presId="urn:microsoft.com/office/officeart/2008/layout/VerticalCurvedList"/>
    <dgm:cxn modelId="{6B62B9F6-9B5B-46D6-BF3B-634A7E861F7A}" type="presParOf" srcId="{B2F26DB3-2536-4B56-8AB1-ACBD9E1B2C5C}" destId="{434E6F52-50E8-4101-B913-649D0D9CF636}" srcOrd="5" destOrd="0" presId="urn:microsoft.com/office/officeart/2008/layout/VerticalCurvedList"/>
    <dgm:cxn modelId="{3273A970-B87C-406C-886B-D7F120DEC5EC}" type="presParOf" srcId="{B2F26DB3-2536-4B56-8AB1-ACBD9E1B2C5C}" destId="{377FE4C4-9645-4B0D-854C-73DB6EC23D26}" srcOrd="6" destOrd="0" presId="urn:microsoft.com/office/officeart/2008/layout/VerticalCurvedList"/>
    <dgm:cxn modelId="{D2C4FE3B-3CD9-444E-81D0-9D8628D7D352}" type="presParOf" srcId="{377FE4C4-9645-4B0D-854C-73DB6EC23D26}" destId="{FDC26D00-5A59-43DD-BD94-4648E5281EB8}" srcOrd="0" destOrd="0" presId="urn:microsoft.com/office/officeart/2008/layout/VerticalCurvedList"/>
    <dgm:cxn modelId="{3D60599A-F959-478C-80FD-FF56B249AE6E}" type="presParOf" srcId="{B2F26DB3-2536-4B56-8AB1-ACBD9E1B2C5C}" destId="{FAFBEBF9-3E4D-48BD-8856-0574A6E0DA32}" srcOrd="7" destOrd="0" presId="urn:microsoft.com/office/officeart/2008/layout/VerticalCurvedList"/>
    <dgm:cxn modelId="{4EE2FD47-28DE-429E-A944-29E9D108AE5A}" type="presParOf" srcId="{B2F26DB3-2536-4B56-8AB1-ACBD9E1B2C5C}" destId="{11814042-0638-4A20-9236-B6A6FFDFB4A7}" srcOrd="8" destOrd="0" presId="urn:microsoft.com/office/officeart/2008/layout/VerticalCurvedList"/>
    <dgm:cxn modelId="{5B2B905E-12D2-44BF-8603-51E6633D0F51}" type="presParOf" srcId="{11814042-0638-4A20-9236-B6A6FFDFB4A7}" destId="{24A303EB-B958-40A3-9D30-49736A2D150B}" srcOrd="0" destOrd="0" presId="urn:microsoft.com/office/officeart/2008/layout/VerticalCurvedList"/>
    <dgm:cxn modelId="{ACEA9481-3755-4964-8DFC-89D59F1D0125}" type="presParOf" srcId="{B2F26DB3-2536-4B56-8AB1-ACBD9E1B2C5C}" destId="{03D29AE1-4449-4DE3-A023-86F969CE6A3B}" srcOrd="9" destOrd="0" presId="urn:microsoft.com/office/officeart/2008/layout/VerticalCurvedList"/>
    <dgm:cxn modelId="{75FCA1BA-3668-4B56-9184-C468702DCFAC}" type="presParOf" srcId="{B2F26DB3-2536-4B56-8AB1-ACBD9E1B2C5C}" destId="{E8F37C79-BEBE-45DD-BCB9-EA143F2CA083}" srcOrd="10" destOrd="0" presId="urn:microsoft.com/office/officeart/2008/layout/VerticalCurvedList"/>
    <dgm:cxn modelId="{C27D6BF3-DA68-43DB-8786-D594AFD8E2B5}" type="presParOf" srcId="{E8F37C79-BEBE-45DD-BCB9-EA143F2CA083}" destId="{91D55668-ACC9-4242-A908-289F1030F0B3}" srcOrd="0" destOrd="0" presId="urn:microsoft.com/office/officeart/2008/layout/VerticalCurvedList"/>
    <dgm:cxn modelId="{A75C1B2D-AE68-48D6-9E8F-B54711568469}" type="presParOf" srcId="{B2F26DB3-2536-4B56-8AB1-ACBD9E1B2C5C}" destId="{88B614A0-0567-4F2D-B2B2-F83BFA3B4526}" srcOrd="11" destOrd="0" presId="urn:microsoft.com/office/officeart/2008/layout/VerticalCurvedList"/>
    <dgm:cxn modelId="{23FA1086-B648-46CB-9FA6-3E49C17E58C1}" type="presParOf" srcId="{B2F26DB3-2536-4B56-8AB1-ACBD9E1B2C5C}" destId="{7BA05796-4DC6-43AD-9A37-68DE7BB1134B}" srcOrd="12" destOrd="0" presId="urn:microsoft.com/office/officeart/2008/layout/VerticalCurvedList"/>
    <dgm:cxn modelId="{90E5E37B-9D07-4182-9652-F4218CFF4F9B}" type="presParOf" srcId="{7BA05796-4DC6-43AD-9A37-68DE7BB1134B}" destId="{D47FFDD6-F087-47F0-BA26-080C7BFE26AA}" srcOrd="0" destOrd="0" presId="urn:microsoft.com/office/officeart/2008/layout/VerticalCurvedList"/>
    <dgm:cxn modelId="{D85920A1-CA5E-4812-9A86-0B7D6F54A973}" type="presParOf" srcId="{B2F26DB3-2536-4B56-8AB1-ACBD9E1B2C5C}" destId="{7B531F08-90CC-47F3-9A72-F060C4EBFEFA}" srcOrd="13" destOrd="0" presId="urn:microsoft.com/office/officeart/2008/layout/VerticalCurvedList"/>
    <dgm:cxn modelId="{9D72EE93-8700-4FE3-A130-2CA5A0E7D126}" type="presParOf" srcId="{B2F26DB3-2536-4B56-8AB1-ACBD9E1B2C5C}" destId="{C2374CA1-4BBA-40FB-AA28-BC2764748C14}" srcOrd="14" destOrd="0" presId="urn:microsoft.com/office/officeart/2008/layout/VerticalCurvedList"/>
    <dgm:cxn modelId="{D43F4834-2905-411C-A2B4-ADF5EB3029B3}" type="presParOf" srcId="{C2374CA1-4BBA-40FB-AA28-BC2764748C14}" destId="{DD5B3DBA-CF34-473C-8C5A-A4733A1AA5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0070C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2: </a:t>
          </a:r>
          <a:r>
            <a:rPr lang="es-PE" sz="1500" kern="1200" dirty="0">
              <a:latin typeface="+mj-lt"/>
            </a:rPr>
            <a:t>REGISTRO EN ARIBA SOURCING</a:t>
          </a: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3: </a:t>
          </a:r>
          <a:r>
            <a:rPr lang="es-PE" sz="1500" kern="1200" dirty="0">
              <a:latin typeface="+mj-lt"/>
            </a:rPr>
            <a:t>PARTICIPACIÓN DE UN 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4: </a:t>
          </a:r>
          <a:r>
            <a:rPr lang="es-PE" sz="1500" kern="1200" dirty="0"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5: </a:t>
          </a:r>
          <a:r>
            <a:rPr lang="es-PE" sz="1500" kern="1200" dirty="0"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6: </a:t>
          </a:r>
          <a:r>
            <a:rPr lang="es-PE" sz="1500" kern="1200" dirty="0"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7: </a:t>
          </a:r>
          <a:r>
            <a:rPr lang="es-PE" sz="1500" kern="1200" dirty="0"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D0D2E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solidFill>
          <a:schemeClr val="tx2">
            <a:lumMod val="75000"/>
            <a:lumOff val="25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2: REGISTRO EN ARIBA SOURCING</a:t>
          </a:r>
          <a:endParaRPr lang="es-PE" sz="1500" kern="1200" dirty="0">
            <a:solidFill>
              <a:schemeClr val="bg2"/>
            </a:solidFill>
            <a:latin typeface="+mj-lt"/>
          </a:endParaRP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3: </a:t>
          </a:r>
          <a:r>
            <a:rPr lang="es-PE" sz="1500" kern="1200" dirty="0">
              <a:solidFill>
                <a:schemeClr val="tx1"/>
              </a:solidFill>
              <a:latin typeface="+mj-lt"/>
            </a:rPr>
            <a:t>PARTIPACIÓN DE UN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4: </a:t>
          </a:r>
          <a:r>
            <a:rPr lang="es-PE" sz="1500" kern="1200" dirty="0"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5: </a:t>
          </a:r>
          <a:r>
            <a:rPr lang="es-PE" sz="1500" kern="1200" dirty="0"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6: </a:t>
          </a:r>
          <a:r>
            <a:rPr lang="es-PE" sz="1500" kern="1200" dirty="0"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7: </a:t>
          </a:r>
          <a:r>
            <a:rPr lang="es-PE" sz="1500" kern="1200" dirty="0"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D0D2E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solidFill>
          <a:srgbClr val="C3C7D9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REGISTRO EN ARIBA SOURCING</a:t>
          </a: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solidFill>
          <a:srgbClr val="D2D4E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solidFill>
          <a:schemeClr val="tx2">
            <a:lumMod val="75000"/>
            <a:lumOff val="25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5: </a:t>
          </a:r>
          <a:r>
            <a:rPr lang="es-PE" sz="1500" kern="1200" dirty="0"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6: </a:t>
          </a:r>
          <a:r>
            <a:rPr lang="es-PE" sz="1500" kern="1200" dirty="0"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7: </a:t>
          </a:r>
          <a:r>
            <a:rPr lang="es-PE" sz="1500" kern="1200" dirty="0"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D0D2E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solidFill>
          <a:srgbClr val="C3C7D9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REGISTRO EN ARIBA SOURCING</a:t>
          </a: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solidFill>
          <a:srgbClr val="D2D4E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solidFill>
          <a:srgbClr val="D4D6E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solidFill>
          <a:srgbClr val="0054C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6: </a:t>
          </a:r>
          <a:r>
            <a:rPr lang="es-PE" sz="1500" b="0" kern="1200" dirty="0"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7: </a:t>
          </a:r>
          <a:r>
            <a:rPr lang="es-PE" sz="1500" kern="1200" dirty="0"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D0D2E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solidFill>
          <a:srgbClr val="C3C7D9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REGISTRO EN ARIBA SOURCING</a:t>
          </a: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solidFill>
          <a:srgbClr val="D2D4E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solidFill>
          <a:srgbClr val="D1D3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solidFill>
          <a:srgbClr val="D1D3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solidFill>
          <a:srgbClr val="0054C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6: </a:t>
          </a:r>
          <a:r>
            <a:rPr lang="es-PE" sz="1500" b="0" kern="1200" dirty="0">
              <a:solidFill>
                <a:schemeClr val="bg1"/>
              </a:solidFill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latin typeface="+mj-lt"/>
            </a:rPr>
            <a:t>PASO 7: </a:t>
          </a:r>
          <a:r>
            <a:rPr lang="es-PE" sz="1500" kern="1200" dirty="0"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F4BD1-72EA-4FA7-BBD6-86CECE20947E}">
      <dsp:nvSpPr>
        <dsp:cNvPr id="0" name=""/>
        <dsp:cNvSpPr/>
      </dsp:nvSpPr>
      <dsp:spPr>
        <a:xfrm>
          <a:off x="-6323706" y="-968029"/>
          <a:ext cx="7532740" cy="7532740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B43088-37D2-42C0-80C6-9DE564B0B032}">
      <dsp:nvSpPr>
        <dsp:cNvPr id="0" name=""/>
        <dsp:cNvSpPr/>
      </dsp:nvSpPr>
      <dsp:spPr>
        <a:xfrm>
          <a:off x="392607" y="254425"/>
          <a:ext cx="5119889" cy="508626"/>
        </a:xfrm>
        <a:prstGeom prst="rect">
          <a:avLst/>
        </a:prstGeom>
        <a:solidFill>
          <a:srgbClr val="D0D2E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1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CONOCIMIENTOS PREVIOS</a:t>
          </a:r>
        </a:p>
      </dsp:txBody>
      <dsp:txXfrm>
        <a:off x="392607" y="254425"/>
        <a:ext cx="5119889" cy="508626"/>
      </dsp:txXfrm>
    </dsp:sp>
    <dsp:sp modelId="{B20CD4B4-3291-4905-89C1-0CA8F2725B5B}">
      <dsp:nvSpPr>
        <dsp:cNvPr id="0" name=""/>
        <dsp:cNvSpPr/>
      </dsp:nvSpPr>
      <dsp:spPr>
        <a:xfrm>
          <a:off x="74715" y="190846"/>
          <a:ext cx="635783" cy="635783"/>
        </a:xfrm>
        <a:prstGeom prst="ellipse">
          <a:avLst/>
        </a:prstGeom>
        <a:solidFill>
          <a:schemeClr val="bg1"/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3840F37-B9C6-4693-B5A1-AFE4241D7801}">
      <dsp:nvSpPr>
        <dsp:cNvPr id="0" name=""/>
        <dsp:cNvSpPr/>
      </dsp:nvSpPr>
      <dsp:spPr>
        <a:xfrm>
          <a:off x="853214" y="1017812"/>
          <a:ext cx="4659282" cy="508626"/>
        </a:xfrm>
        <a:prstGeom prst="rect">
          <a:avLst/>
        </a:prstGeom>
        <a:solidFill>
          <a:srgbClr val="C3C7D9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2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REGISTRO EN ARIBA SOURCING</a:t>
          </a:r>
        </a:p>
      </dsp:txBody>
      <dsp:txXfrm>
        <a:off x="853214" y="1017812"/>
        <a:ext cx="4659282" cy="508626"/>
      </dsp:txXfrm>
    </dsp:sp>
    <dsp:sp modelId="{B472731E-6A63-48C2-94C5-5D710CCAC4BE}">
      <dsp:nvSpPr>
        <dsp:cNvPr id="0" name=""/>
        <dsp:cNvSpPr/>
      </dsp:nvSpPr>
      <dsp:spPr>
        <a:xfrm>
          <a:off x="535322" y="95423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34E6F52-50E8-4101-B913-649D0D9CF636}">
      <dsp:nvSpPr>
        <dsp:cNvPr id="0" name=""/>
        <dsp:cNvSpPr/>
      </dsp:nvSpPr>
      <dsp:spPr>
        <a:xfrm>
          <a:off x="1105624" y="1780640"/>
          <a:ext cx="4406871" cy="508626"/>
        </a:xfrm>
        <a:prstGeom prst="rect">
          <a:avLst/>
        </a:prstGeom>
        <a:solidFill>
          <a:srgbClr val="D2D4E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2"/>
              </a:solidFill>
              <a:latin typeface="+mj-lt"/>
            </a:rPr>
            <a:t>PASO 3: </a:t>
          </a:r>
          <a:r>
            <a:rPr lang="es-PE" sz="1500" kern="1200" dirty="0">
              <a:solidFill>
                <a:schemeClr val="bg2"/>
              </a:solidFill>
              <a:latin typeface="+mj-lt"/>
            </a:rPr>
            <a:t>PARTIPACIÓN DE UN EVENTO DE ARIBA SOURCING</a:t>
          </a:r>
        </a:p>
      </dsp:txBody>
      <dsp:txXfrm>
        <a:off x="1105624" y="1780640"/>
        <a:ext cx="4406871" cy="508626"/>
      </dsp:txXfrm>
    </dsp:sp>
    <dsp:sp modelId="{FDC26D00-5A59-43DD-BD94-4648E5281EB8}">
      <dsp:nvSpPr>
        <dsp:cNvPr id="0" name=""/>
        <dsp:cNvSpPr/>
      </dsp:nvSpPr>
      <dsp:spPr>
        <a:xfrm>
          <a:off x="787732" y="171706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AFBEBF9-3E4D-48BD-8856-0574A6E0DA32}">
      <dsp:nvSpPr>
        <dsp:cNvPr id="0" name=""/>
        <dsp:cNvSpPr/>
      </dsp:nvSpPr>
      <dsp:spPr>
        <a:xfrm>
          <a:off x="1186216" y="2544027"/>
          <a:ext cx="4326279" cy="508626"/>
        </a:xfrm>
        <a:prstGeom prst="rect">
          <a:avLst/>
        </a:prstGeom>
        <a:solidFill>
          <a:srgbClr val="D1D3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4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MENSAJERÍA DE ARIBA SOURCING</a:t>
          </a:r>
        </a:p>
      </dsp:txBody>
      <dsp:txXfrm>
        <a:off x="1186216" y="2544027"/>
        <a:ext cx="4326279" cy="508626"/>
      </dsp:txXfrm>
    </dsp:sp>
    <dsp:sp modelId="{24A303EB-B958-40A3-9D30-49736A2D150B}">
      <dsp:nvSpPr>
        <dsp:cNvPr id="0" name=""/>
        <dsp:cNvSpPr/>
      </dsp:nvSpPr>
      <dsp:spPr>
        <a:xfrm>
          <a:off x="868325" y="2480449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D29AE1-4449-4DE3-A023-86F969CE6A3B}">
      <dsp:nvSpPr>
        <dsp:cNvPr id="0" name=""/>
        <dsp:cNvSpPr/>
      </dsp:nvSpPr>
      <dsp:spPr>
        <a:xfrm>
          <a:off x="1105624" y="3307415"/>
          <a:ext cx="4406871" cy="508626"/>
        </a:xfrm>
        <a:prstGeom prst="rect">
          <a:avLst/>
        </a:prstGeom>
        <a:solidFill>
          <a:srgbClr val="D1D3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5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CENTRO DE AYUDA</a:t>
          </a:r>
        </a:p>
      </dsp:txBody>
      <dsp:txXfrm>
        <a:off x="1105624" y="3307415"/>
        <a:ext cx="4406871" cy="508626"/>
      </dsp:txXfrm>
    </dsp:sp>
    <dsp:sp modelId="{91D55668-ACC9-4242-A908-289F1030F0B3}">
      <dsp:nvSpPr>
        <dsp:cNvPr id="0" name=""/>
        <dsp:cNvSpPr/>
      </dsp:nvSpPr>
      <dsp:spPr>
        <a:xfrm>
          <a:off x="787732" y="3243836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8B614A0-0567-4F2D-B2B2-F83BFA3B4526}">
      <dsp:nvSpPr>
        <dsp:cNvPr id="0" name=""/>
        <dsp:cNvSpPr/>
      </dsp:nvSpPr>
      <dsp:spPr>
        <a:xfrm>
          <a:off x="853214" y="4070242"/>
          <a:ext cx="4659282" cy="508626"/>
        </a:xfrm>
        <a:prstGeom prst="rect">
          <a:avLst/>
        </a:prstGeom>
        <a:solidFill>
          <a:srgbClr val="D1D3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6: </a:t>
          </a:r>
          <a:r>
            <a:rPr lang="es-PE" sz="1500" b="0" kern="1200" dirty="0">
              <a:solidFill>
                <a:schemeClr val="bg1"/>
              </a:solidFill>
              <a:latin typeface="+mj-lt"/>
            </a:rPr>
            <a:t>LINEAMIENTOS DEL GRUPO GLORIA</a:t>
          </a:r>
        </a:p>
      </dsp:txBody>
      <dsp:txXfrm>
        <a:off x="853214" y="4070242"/>
        <a:ext cx="4659282" cy="508626"/>
      </dsp:txXfrm>
    </dsp:sp>
    <dsp:sp modelId="{D47FFDD6-F087-47F0-BA26-080C7BFE26AA}">
      <dsp:nvSpPr>
        <dsp:cNvPr id="0" name=""/>
        <dsp:cNvSpPr/>
      </dsp:nvSpPr>
      <dsp:spPr>
        <a:xfrm>
          <a:off x="535322" y="4006664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B531F08-90CC-47F3-9A72-F060C4EBFEFA}">
      <dsp:nvSpPr>
        <dsp:cNvPr id="0" name=""/>
        <dsp:cNvSpPr/>
      </dsp:nvSpPr>
      <dsp:spPr>
        <a:xfrm>
          <a:off x="392607" y="4833630"/>
          <a:ext cx="5119889" cy="508626"/>
        </a:xfrm>
        <a:prstGeom prst="rect">
          <a:avLst/>
        </a:prstGeom>
        <a:solidFill>
          <a:srgbClr val="0054C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372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b="1" kern="1200" dirty="0">
              <a:solidFill>
                <a:schemeClr val="bg1"/>
              </a:solidFill>
              <a:latin typeface="+mj-lt"/>
            </a:rPr>
            <a:t>PASO 7: </a:t>
          </a:r>
          <a:r>
            <a:rPr lang="es-PE" sz="1500" kern="1200" dirty="0">
              <a:solidFill>
                <a:schemeClr val="bg1"/>
              </a:solidFill>
              <a:latin typeface="+mj-lt"/>
            </a:rPr>
            <a:t>PREGUNTAS</a:t>
          </a:r>
        </a:p>
      </dsp:txBody>
      <dsp:txXfrm>
        <a:off x="392607" y="4833630"/>
        <a:ext cx="5119889" cy="508626"/>
      </dsp:txXfrm>
    </dsp:sp>
    <dsp:sp modelId="{DD5B3DBA-CF34-473C-8C5A-A4733A1AA545}">
      <dsp:nvSpPr>
        <dsp:cNvPr id="0" name=""/>
        <dsp:cNvSpPr/>
      </dsp:nvSpPr>
      <dsp:spPr>
        <a:xfrm>
          <a:off x="74715" y="4770052"/>
          <a:ext cx="635783" cy="635783"/>
        </a:xfrm>
        <a:prstGeom prst="ellipse">
          <a:avLst/>
        </a:prstGeom>
        <a:gradFill rotWithShape="0">
          <a:gsLst>
            <a:gs pos="0">
              <a:schemeClr val="l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411CC-7011-C441-AFC5-C9A40C890139}" type="datetime1">
              <a:rPr lang="en-US" smtClean="0"/>
              <a:pPr/>
              <a:t>2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A5826-73DC-8A49-BD75-15BEA15027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50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2DA76C-84D8-8543-9A76-AB00E088AEBE}" type="datetime1">
              <a:rPr lang="en-US" smtClean="0"/>
              <a:pPr/>
              <a:t>2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CFFEA0-7978-3D46-98C5-C4FFE90833BD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655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52F06F-5151-4763-A4CF-AD2E5CB4658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939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2F06F-5151-4763-A4CF-AD2E5CB46586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38969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608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367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C116E7-1C08-4495-8EC7-25A9909B539A}" type="slidenum">
              <a:rPr lang="es-CL" smtClean="0"/>
              <a:t>2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00694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3570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4062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276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4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9D471-FF64-47FE-B919-052996168CB5}" type="slidenum"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492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4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4631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5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7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7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209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a de think-cell" r:id="rId4" imgW="470" imgH="469" progId="TCLayout.ActiveDocument.1">
                  <p:embed/>
                </p:oleObj>
              </mc:Choice>
              <mc:Fallback>
                <p:oleObj name="Diapositiva de think-cell" r:id="rId4" imgW="470" imgH="469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1" y="6356354"/>
            <a:ext cx="2844800" cy="365125"/>
          </a:xfrm>
          <a:prstGeom prst="rect">
            <a:avLst/>
          </a:prstGeom>
        </p:spPr>
        <p:txBody>
          <a:bodyPr/>
          <a:lstStyle/>
          <a:p>
            <a:fld id="{0AF1D0CB-5687-4631-8466-74DDE428AA4E}" type="datetimeFigureOut">
              <a:rPr lang="es-PE" smtClean="0"/>
              <a:t>3/02/2023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1" y="6356354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7E6EB-3F0B-4B10-AE2E-99D1F13A7F1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50250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 userDrawn="1"/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206">
              <a:defRPr/>
            </a:pPr>
            <a:fld id="{7ED418F5-4791-4B18-A7E7-B523FDD38919}" type="slidenum">
              <a:rPr lang="en-US" sz="1000" smtClean="0"/>
              <a:pPr defTabSz="914206">
                <a:defRPr/>
              </a:pPr>
              <a:t>‹Nº›</a:t>
            </a:fld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1441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264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15.1.2 - Worksheet ED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39221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4" name="1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 userDrawn="1"/>
        </p:nvSpPr>
        <p:spPr>
          <a:xfrm>
            <a:off x="0" y="488443"/>
            <a:ext cx="12192000" cy="6036909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5 Rectángulo"/>
          <p:cNvSpPr/>
          <p:nvPr userDrawn="1"/>
        </p:nvSpPr>
        <p:spPr>
          <a:xfrm>
            <a:off x="0" y="0"/>
            <a:ext cx="7532308" cy="7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7514004" y="324000"/>
            <a:ext cx="1860923" cy="396000"/>
            <a:chOff x="6393160" y="0"/>
            <a:chExt cx="1512000" cy="396000"/>
          </a:xfrm>
        </p:grpSpPr>
        <p:sp>
          <p:nvSpPr>
            <p:cNvPr id="8" name="7 Rectángulo"/>
            <p:cNvSpPr/>
            <p:nvPr/>
          </p:nvSpPr>
          <p:spPr>
            <a:xfrm>
              <a:off x="6393160" y="0"/>
              <a:ext cx="1512000" cy="39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542925"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200" dirty="0">
                  <a:solidFill>
                    <a:prstClr val="black"/>
                  </a:solidFill>
                  <a:latin typeface="Franklin Gothic Demi Cond" panose="020B0706030402020204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__/__/____</a:t>
              </a:r>
              <a:endParaRPr lang="es-PE" sz="1200" dirty="0">
                <a:solidFill>
                  <a:prstClr val="black"/>
                </a:solidFill>
                <a:latin typeface="Franklin Gothic Demi Cond" panose="020B0706030402020204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8 CuadroTexto"/>
            <p:cNvSpPr txBox="1"/>
            <p:nvPr/>
          </p:nvSpPr>
          <p:spPr>
            <a:xfrm>
              <a:off x="6449907" y="43756"/>
              <a:ext cx="504000" cy="3084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>
                  <a:solidFill>
                    <a:prstClr val="black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Fecha de edición:</a:t>
              </a:r>
            </a:p>
          </p:txBody>
        </p:sp>
      </p:grpSp>
      <p:sp>
        <p:nvSpPr>
          <p:cNvPr id="11" name="10 Rectángulo"/>
          <p:cNvSpPr/>
          <p:nvPr/>
        </p:nvSpPr>
        <p:spPr>
          <a:xfrm>
            <a:off x="7514004" y="0"/>
            <a:ext cx="1860923" cy="324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583846" y="54000"/>
            <a:ext cx="620308" cy="216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MX" sz="10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ón: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9374927" y="0"/>
            <a:ext cx="2817073" cy="7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es-PE" sz="7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 userDrawn="1">
            <p:ph type="title"/>
          </p:nvPr>
        </p:nvSpPr>
        <p:spPr>
          <a:xfrm>
            <a:off x="142032" y="77467"/>
            <a:ext cx="7266462" cy="216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s-PE" sz="1500" dirty="0">
                <a:latin typeface="Franklin Gothic Demi Cond" panose="020B0706030402020204" pitchFamily="34" charset="0"/>
              </a:defRPr>
            </a:lvl1pPr>
          </a:lstStyle>
          <a:p>
            <a:pPr lvl="0" algn="l"/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16" name="15 Rectángulo"/>
          <p:cNvSpPr/>
          <p:nvPr userDrawn="1"/>
        </p:nvSpPr>
        <p:spPr>
          <a:xfrm>
            <a:off x="0" y="6434684"/>
            <a:ext cx="11514757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16 Rectángulo"/>
          <p:cNvSpPr/>
          <p:nvPr userDrawn="1"/>
        </p:nvSpPr>
        <p:spPr>
          <a:xfrm>
            <a:off x="11514757" y="6434684"/>
            <a:ext cx="677243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PE" sz="9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17 CuadroTexto"/>
          <p:cNvSpPr txBox="1"/>
          <p:nvPr userDrawn="1"/>
        </p:nvSpPr>
        <p:spPr>
          <a:xfrm>
            <a:off x="11565378" y="6453352"/>
            <a:ext cx="576000" cy="144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ágina:</a:t>
            </a:r>
          </a:p>
        </p:txBody>
      </p:sp>
      <p:sp>
        <p:nvSpPr>
          <p:cNvPr id="4" name="3 Marcador de pie de página"/>
          <p:cNvSpPr>
            <a:spLocks noGrp="1"/>
          </p:cNvSpPr>
          <p:nvPr userDrawn="1">
            <p:ph type="ftr" sz="quarter" idx="11"/>
          </p:nvPr>
        </p:nvSpPr>
        <p:spPr>
          <a:xfrm>
            <a:off x="144000" y="6453352"/>
            <a:ext cx="11269514" cy="404648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just"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PE" dirty="0">
              <a:solidFill>
                <a:prstClr val="black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11572007" y="6604972"/>
            <a:ext cx="576000" cy="216000"/>
          </a:xfrm>
        </p:spPr>
        <p:txBody>
          <a:bodyPr lIns="36000" tIns="0" rIns="36000" bIns="0" anchor="b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CEA3C8A-472D-4DA1-A972-24C170072E9D}" type="slidenum">
              <a:rPr lang="es-PE" smtClean="0">
                <a:solidFill>
                  <a:prstClr val="black"/>
                </a:solidFill>
              </a:rPr>
              <a:pPr/>
              <a:t>‹Nº›</a:t>
            </a:fld>
            <a:endParaRPr lang="es-PE">
              <a:solidFill>
                <a:prstClr val="black"/>
              </a:solidFill>
            </a:endParaRPr>
          </a:p>
        </p:txBody>
      </p:sp>
      <p:sp>
        <p:nvSpPr>
          <p:cNvPr id="22" name="21 Marcador de texto"/>
          <p:cNvSpPr>
            <a:spLocks noGrp="1"/>
          </p:cNvSpPr>
          <p:nvPr userDrawn="1">
            <p:ph type="body" sz="quarter" idx="13"/>
          </p:nvPr>
        </p:nvSpPr>
        <p:spPr>
          <a:xfrm>
            <a:off x="1753364" y="332656"/>
            <a:ext cx="5672015" cy="324000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24" name="23 Marcador de texto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282788" y="54000"/>
            <a:ext cx="974769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171450" indent="-171450">
              <a:buFont typeface="Arial" panose="020B0604020202020204" pitchFamily="34" charset="0"/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X.X</a:t>
            </a:r>
            <a:endParaRPr lang="es-PE" dirty="0"/>
          </a:p>
        </p:txBody>
      </p:sp>
      <p:sp>
        <p:nvSpPr>
          <p:cNvPr id="26" name="25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8264768" y="442764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7" name="25 Marcador de texto"/>
          <p:cNvSpPr>
            <a:spLocks noGrp="1"/>
          </p:cNvSpPr>
          <p:nvPr>
            <p:ph type="body" sz="quarter" idx="16" hasCustomPrompt="1"/>
          </p:nvPr>
        </p:nvSpPr>
        <p:spPr>
          <a:xfrm>
            <a:off x="8554060" y="442764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8" name="25 Marcador de texto"/>
          <p:cNvSpPr>
            <a:spLocks noGrp="1"/>
          </p:cNvSpPr>
          <p:nvPr>
            <p:ph type="body" sz="quarter" idx="17" hasCustomPrompt="1"/>
          </p:nvPr>
        </p:nvSpPr>
        <p:spPr>
          <a:xfrm>
            <a:off x="8843382" y="442764"/>
            <a:ext cx="443077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99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04753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a de think-cell" r:id="rId4" imgW="470" imgH="469" progId="TCLayout.ActiveDocument.1">
                  <p:embed/>
                </p:oleObj>
              </mc:Choice>
              <mc:Fallback>
                <p:oleObj name="Diapositiva de think-cell" r:id="rId4" imgW="470" imgH="469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1" y="6356354"/>
            <a:ext cx="2844800" cy="365125"/>
          </a:xfrm>
          <a:prstGeom prst="rect">
            <a:avLst/>
          </a:prstGeom>
        </p:spPr>
        <p:txBody>
          <a:bodyPr/>
          <a:lstStyle/>
          <a:p>
            <a:fld id="{0AF1D0CB-5687-4631-8466-74DDE428AA4E}" type="datetimeFigureOut">
              <a:rPr lang="es-PE" smtClean="0"/>
              <a:t>3/02/2023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1" y="6356354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7E6EB-3F0B-4B10-AE2E-99D1F13A7F1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262432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EB0E050-AE68-424F-9F99-26DA3C9B8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a de think-cell" r:id="rId4" imgW="444" imgH="443" progId="TCLayout.ActiveDocument.1">
                  <p:embed/>
                </p:oleObj>
              </mc:Choice>
              <mc:Fallback>
                <p:oleObj name="Diapositiva de think-cell" r:id="rId4" imgW="444" imgH="44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EB0E050-AE68-424F-9F99-26DA3C9B8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4942"/>
            <a:ext cx="10972800" cy="981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7285C-4B92-E745-AFE5-F92EB0EAB47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8625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15" y="11"/>
            <a:ext cx="12187680" cy="6859620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7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3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</p:grpSp>
      <p:sp>
        <p:nvSpPr>
          <p:cNvPr id="14" name="Working Draft Text" hidden="1"/>
          <p:cNvSpPr txBox="1">
            <a:spLocks noChangeArrowheads="1"/>
          </p:cNvSpPr>
          <p:nvPr/>
        </p:nvSpPr>
        <p:spPr bwMode="auto">
          <a:xfrm>
            <a:off x="3760191" y="544238"/>
            <a:ext cx="99386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15" name="Working Draft" hidden="1"/>
          <p:cNvSpPr txBox="1">
            <a:spLocks noChangeArrowheads="1"/>
          </p:cNvSpPr>
          <p:nvPr/>
        </p:nvSpPr>
        <p:spPr bwMode="auto">
          <a:xfrm>
            <a:off x="3760193" y="702977"/>
            <a:ext cx="298158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>
                <a:solidFill>
                  <a:srgbClr val="000000"/>
                </a:solidFill>
              </a:rPr>
              <a:t>Working Draft - Last Modified 03/08/2012 05:46:18 p.m.</a:t>
            </a:r>
          </a:p>
        </p:txBody>
      </p:sp>
      <p:sp>
        <p:nvSpPr>
          <p:cNvPr id="16" name="Printed" hidden="1"/>
          <p:cNvSpPr txBox="1">
            <a:spLocks noChangeArrowheads="1"/>
          </p:cNvSpPr>
          <p:nvPr/>
        </p:nvSpPr>
        <p:spPr bwMode="auto">
          <a:xfrm>
            <a:off x="3760193" y="863328"/>
            <a:ext cx="305853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0">
                <a:solidFill>
                  <a:srgbClr val="000000"/>
                </a:solidFill>
              </a:rPr>
              <a:t>Printed 28/03/2012 05:18:47 p.m. SA Pacific Standard Time</a:t>
            </a:r>
          </a:p>
        </p:txBody>
      </p:sp>
      <p:grpSp>
        <p:nvGrpSpPr>
          <p:cNvPr id="17" name="McK Title Elements"/>
          <p:cNvGrpSpPr>
            <a:grpSpLocks/>
          </p:cNvGrpSpPr>
          <p:nvPr/>
        </p:nvGrpSpPr>
        <p:grpSpPr bwMode="auto">
          <a:xfrm>
            <a:off x="15" y="11"/>
            <a:ext cx="12187680" cy="6859620"/>
            <a:chOff x="0" y="0"/>
            <a:chExt cx="5643" cy="4235"/>
          </a:xfrm>
        </p:grpSpPr>
        <p:sp>
          <p:nvSpPr>
            <p:cNvPr id="1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2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7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2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23" name="Rectangle 28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</p:grpSp>
      <p:pic>
        <p:nvPicPr>
          <p:cNvPr id="2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95" y="6574558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" name="McK Slide Elements"/>
          <p:cNvGrpSpPr>
            <a:grpSpLocks/>
          </p:cNvGrpSpPr>
          <p:nvPr/>
        </p:nvGrpSpPr>
        <p:grpSpPr bwMode="auto">
          <a:xfrm>
            <a:off x="161986" y="6291100"/>
            <a:ext cx="11630453" cy="495642"/>
            <a:chOff x="75" y="3884"/>
            <a:chExt cx="5385" cy="306"/>
          </a:xfrm>
        </p:grpSpPr>
        <p:sp>
          <p:nvSpPr>
            <p:cNvPr id="26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2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6463" indent="-616463" defTabSz="906087" fontAlgn="base">
                <a:spcBef>
                  <a:spcPct val="0"/>
                </a:spcBef>
                <a:spcAft>
                  <a:spcPct val="0"/>
                </a:spcAft>
                <a:tabLst>
                  <a:tab pos="619699" algn="l"/>
                </a:tabLst>
              </a:pPr>
              <a:r>
                <a:rPr lang="en-US" sz="900" b="1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28" name="Freeform 11"/>
          <p:cNvSpPr>
            <a:spLocks/>
          </p:cNvSpPr>
          <p:nvPr/>
        </p:nvSpPr>
        <p:spPr bwMode="auto">
          <a:xfrm>
            <a:off x="2356343" y="6574557"/>
            <a:ext cx="9835668" cy="283452"/>
          </a:xfrm>
          <a:prstGeom prst="rect">
            <a:avLst/>
          </a:prstGeom>
          <a:solidFill>
            <a:srgbClr val="5B8EC5"/>
          </a:solidFill>
          <a:ln>
            <a:noFill/>
          </a:ln>
        </p:spPr>
        <p:txBody>
          <a:bodyPr lIns="92742" tIns="46374" rIns="92742" bIns="46374"/>
          <a:lstStyle/>
          <a:p>
            <a:pPr algn="just" defTabSz="9142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itchFamily="2" charset="2"/>
              <a:buChar char="§"/>
            </a:pPr>
            <a:endParaRPr lang="es-PE" sz="1100" b="1">
              <a:solidFill>
                <a:srgbClr val="000000"/>
              </a:solidFill>
            </a:endParaRPr>
          </a:p>
        </p:txBody>
      </p:sp>
      <p:sp>
        <p:nvSpPr>
          <p:cNvPr id="158825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3591727" y="2176997"/>
            <a:ext cx="6714779" cy="507831"/>
          </a:xfrm>
        </p:spPr>
        <p:txBody>
          <a:bodyPr/>
          <a:lstStyle>
            <a:lvl1pPr>
              <a:defRPr sz="3300"/>
            </a:lvl1pPr>
          </a:lstStyle>
          <a:p>
            <a:r>
              <a:rPr lang="es-ES"/>
              <a:t>Click to edit Master title</a:t>
            </a:r>
          </a:p>
        </p:txBody>
      </p:sp>
      <p:sp>
        <p:nvSpPr>
          <p:cNvPr id="158825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3591727" y="3945717"/>
            <a:ext cx="6714779" cy="310991"/>
          </a:xfrm>
        </p:spPr>
        <p:txBody>
          <a:bodyPr>
            <a:spAutoFit/>
          </a:bodyPr>
          <a:lstStyle>
            <a:lvl1pPr>
              <a:defRPr sz="2000"/>
            </a:lvl1pPr>
          </a:lstStyle>
          <a:p>
            <a:r>
              <a:rPr lang="es-ES"/>
              <a:t>Click to edit Master subtitle style</a:t>
            </a:r>
          </a:p>
        </p:txBody>
      </p:sp>
      <p:sp>
        <p:nvSpPr>
          <p:cNvPr id="1588232" name="1588231 Rectángulo"/>
          <p:cNvSpPr/>
          <p:nvPr userDrawn="1"/>
        </p:nvSpPr>
        <p:spPr>
          <a:xfrm>
            <a:off x="0" y="11"/>
            <a:ext cx="2927648" cy="6857998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16" tIns="46609" rIns="93216" bIns="46609" rtlCol="0" anchor="ctr"/>
          <a:lstStyle/>
          <a:p>
            <a:pPr algn="ctr" defTabSz="914206" fontAlgn="base">
              <a:spcBef>
                <a:spcPct val="0"/>
              </a:spcBef>
              <a:spcAft>
                <a:spcPct val="0"/>
              </a:spcAft>
            </a:pPr>
            <a:endParaRPr lang="es-PE" sz="10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414560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7285C-4B92-E745-AFE5-F92EB0EAB47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018664"/>
            <a:ext cx="2474795" cy="8393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800"/>
          </a:p>
        </p:txBody>
      </p:sp>
    </p:spTree>
    <p:extLst>
      <p:ext uri="{BB962C8B-B14F-4D97-AF65-F5344CB8AC3E}">
        <p14:creationId xmlns:p14="http://schemas.microsoft.com/office/powerpoint/2010/main" val="1213416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04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iapositiva de think-cell" r:id="rId4" imgW="420" imgH="420" progId="TCLayout.ActiveDocument.1">
                  <p:embed/>
                </p:oleObj>
              </mc:Choice>
              <mc:Fallback>
                <p:oleObj name="Diapositiva de think-cell" r:id="rId4" imgW="420" imgH="42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7285C-4B92-E745-AFE5-F92EB0EAB47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125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Insert page title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94972" y="6588855"/>
            <a:ext cx="3860801" cy="171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863" tIns="54431" rIns="108863" bIns="54431" numCol="1" anchor="t" anchorCtr="0" compatLnSpc="1">
            <a:prstTxWarp prst="textNoShape">
              <a:avLst/>
            </a:prstTxWarp>
          </a:bodyPr>
          <a:lstStyle>
            <a:lvl1pPr>
              <a:lnSpc>
                <a:spcPct val="50000"/>
              </a:lnSpc>
              <a:defRPr sz="100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4" y="6531686"/>
            <a:ext cx="588786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863" tIns="54431" rIns="108863" bIns="54431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A6A6A6"/>
                </a:solidFill>
                <a:latin typeface="+mj-lt"/>
              </a:defRPr>
            </a:lvl1pPr>
          </a:lstStyle>
          <a:p>
            <a:fld id="{A2BF08AC-21F3-0847-80D9-9AA1C5D57B4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04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 userDrawn="1"/>
        </p:nvSpPr>
        <p:spPr bwMode="auto">
          <a:xfrm>
            <a:off x="11833475" y="6644193"/>
            <a:ext cx="265654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206">
              <a:defRPr/>
            </a:pPr>
            <a:fld id="{7ED418F5-4791-4B18-A7E7-B523FDD38919}" type="slidenum">
              <a:rPr lang="en-US" sz="1000" smtClean="0"/>
              <a:pPr defTabSz="914206">
                <a:defRPr/>
              </a:pPr>
              <a:t>‹Nº›</a:t>
            </a:fld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8447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0995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 userDrawn="1"/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206">
              <a:defRPr/>
            </a:pPr>
            <a:fld id="{7ED418F5-4791-4B18-A7E7-B523FDD38919}" type="slidenum">
              <a:rPr lang="en-US" sz="1000" smtClean="0"/>
              <a:pPr defTabSz="914206">
                <a:defRPr/>
              </a:pPr>
              <a:t>‹Nº›</a:t>
            </a:fld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60351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983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/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400">
              <a:defRPr/>
            </a:pPr>
            <a:fld id="{7ED418F5-4791-4B18-A7E7-B523FDD38919}" type="slidenum">
              <a:rPr lang="en-US" sz="1020" smtClean="0"/>
              <a:pPr defTabSz="914400">
                <a:defRPr/>
              </a:pPr>
              <a:t>‹Nº›</a:t>
            </a:fld>
            <a:r>
              <a:rPr lang="en-US" sz="102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7860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719088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4" y="3"/>
            <a:ext cx="12187680" cy="6859620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13" name="Rectangle 13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</p:grpSp>
      <p:sp>
        <p:nvSpPr>
          <p:cNvPr id="14" name="Working Draft Text" hidden="1"/>
          <p:cNvSpPr txBox="1">
            <a:spLocks noChangeArrowheads="1"/>
          </p:cNvSpPr>
          <p:nvPr/>
        </p:nvSpPr>
        <p:spPr bwMode="auto">
          <a:xfrm>
            <a:off x="3760191" y="544237"/>
            <a:ext cx="99386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15" name="Working Draft" hidden="1"/>
          <p:cNvSpPr txBox="1">
            <a:spLocks noChangeArrowheads="1"/>
          </p:cNvSpPr>
          <p:nvPr/>
        </p:nvSpPr>
        <p:spPr bwMode="auto">
          <a:xfrm>
            <a:off x="3760191" y="702972"/>
            <a:ext cx="2840521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 - Last Modified 03/08/2012 05:46:18 p.m.</a:t>
            </a:r>
          </a:p>
        </p:txBody>
      </p:sp>
      <p:sp>
        <p:nvSpPr>
          <p:cNvPr id="16" name="Printed" hidden="1"/>
          <p:cNvSpPr txBox="1">
            <a:spLocks noChangeArrowheads="1"/>
          </p:cNvSpPr>
          <p:nvPr/>
        </p:nvSpPr>
        <p:spPr bwMode="auto">
          <a:xfrm>
            <a:off x="3760192" y="863327"/>
            <a:ext cx="305853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0">
                <a:solidFill>
                  <a:srgbClr val="000000"/>
                </a:solidFill>
              </a:rPr>
              <a:t>Printed 28/03/2012 05:18:47 p.m. SA Pacific Standard Time</a:t>
            </a:r>
          </a:p>
        </p:txBody>
      </p:sp>
      <p:grpSp>
        <p:nvGrpSpPr>
          <p:cNvPr id="17" name="McK Title Elements"/>
          <p:cNvGrpSpPr>
            <a:grpSpLocks/>
          </p:cNvGrpSpPr>
          <p:nvPr/>
        </p:nvGrpSpPr>
        <p:grpSpPr bwMode="auto">
          <a:xfrm>
            <a:off x="4" y="3"/>
            <a:ext cx="12187680" cy="6859620"/>
            <a:chOff x="0" y="0"/>
            <a:chExt cx="5643" cy="4235"/>
          </a:xfrm>
        </p:grpSpPr>
        <p:sp>
          <p:nvSpPr>
            <p:cNvPr id="1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2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2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23" name="Rectangle 28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2" y="6574548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" name="McK Slide Elements"/>
          <p:cNvGrpSpPr>
            <a:grpSpLocks/>
          </p:cNvGrpSpPr>
          <p:nvPr/>
        </p:nvGrpSpPr>
        <p:grpSpPr bwMode="auto">
          <a:xfrm>
            <a:off x="161985" y="6291092"/>
            <a:ext cx="11630454" cy="495642"/>
            <a:chOff x="75" y="3884"/>
            <a:chExt cx="5385" cy="306"/>
          </a:xfrm>
        </p:grpSpPr>
        <p:sp>
          <p:nvSpPr>
            <p:cNvPr id="26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2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6986" indent="-616986" defTabSz="906855" fontAlgn="base">
                <a:spcBef>
                  <a:spcPct val="0"/>
                </a:spcBef>
                <a:spcAft>
                  <a:spcPct val="0"/>
                </a:spcAft>
                <a:tabLst>
                  <a:tab pos="620224" algn="l"/>
                </a:tabLst>
              </a:pPr>
              <a:r>
                <a:rPr lang="en-US" sz="90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28" name="Freeform 11"/>
          <p:cNvSpPr>
            <a:spLocks/>
          </p:cNvSpPr>
          <p:nvPr/>
        </p:nvSpPr>
        <p:spPr bwMode="auto">
          <a:xfrm>
            <a:off x="2356332" y="6574549"/>
            <a:ext cx="9835669" cy="283452"/>
          </a:xfrm>
          <a:prstGeom prst="rect">
            <a:avLst/>
          </a:prstGeom>
          <a:solidFill>
            <a:srgbClr val="5B8EC5"/>
          </a:solidFill>
          <a:ln>
            <a:noFill/>
          </a:ln>
        </p:spPr>
        <p:txBody>
          <a:bodyPr lIns="92821" tIns="46415" rIns="92821" bIns="46415"/>
          <a:lstStyle/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itchFamily="2" charset="2"/>
              <a:buChar char="§"/>
            </a:pPr>
            <a:endParaRPr lang="es-PE" sz="1100">
              <a:solidFill>
                <a:srgbClr val="000000"/>
              </a:solidFill>
            </a:endParaRPr>
          </a:p>
        </p:txBody>
      </p:sp>
      <p:sp>
        <p:nvSpPr>
          <p:cNvPr id="158825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3591728" y="2176986"/>
            <a:ext cx="6714778" cy="1015663"/>
          </a:xfrm>
        </p:spPr>
        <p:txBody>
          <a:bodyPr/>
          <a:lstStyle>
            <a:lvl1pPr>
              <a:defRPr sz="33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58825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3591728" y="3945717"/>
            <a:ext cx="6714778" cy="310991"/>
          </a:xfrm>
        </p:spPr>
        <p:txBody>
          <a:bodyPr>
            <a:sp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1588232" name="1588231 Rectángulo"/>
          <p:cNvSpPr/>
          <p:nvPr/>
        </p:nvSpPr>
        <p:spPr>
          <a:xfrm>
            <a:off x="0" y="3"/>
            <a:ext cx="2927648" cy="6857998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PE" sz="10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04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88576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3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8590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97066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441095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9743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362590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 userDrawn="1"/>
        </p:nvSpPr>
        <p:spPr bwMode="auto">
          <a:xfrm>
            <a:off x="11833475" y="6644193"/>
            <a:ext cx="265654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206">
              <a:defRPr/>
            </a:pPr>
            <a:fld id="{7ED418F5-4791-4B18-A7E7-B523FDD38919}" type="slidenum">
              <a:rPr lang="en-US" smtClean="0"/>
              <a:pPr defTabSz="914206">
                <a:defRPr/>
              </a:pPr>
              <a:t>‹Nº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46286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1735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15.1.4 - Worksheet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4" name="1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 userDrawn="1"/>
        </p:nvSpPr>
        <p:spPr>
          <a:xfrm>
            <a:off x="0" y="306001"/>
            <a:ext cx="12192000" cy="6219351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58 Rectángulo redondeado"/>
          <p:cNvSpPr/>
          <p:nvPr userDrawn="1"/>
        </p:nvSpPr>
        <p:spPr>
          <a:xfrm>
            <a:off x="190265" y="512401"/>
            <a:ext cx="11843281" cy="1195650"/>
          </a:xfrm>
          <a:prstGeom prst="roundRect">
            <a:avLst>
              <a:gd name="adj" fmla="val 726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0" bIns="0"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MX" sz="1400" dirty="0">
                <a:solidFill>
                  <a:prstClr val="black"/>
                </a:solidFill>
                <a:latin typeface="Franklin Gothic Demi Cond" panose="020B0706030402020204" pitchFamily="34" charset="0"/>
              </a:rPr>
              <a:t>OBJETIVOS DE LA REUNIÓN</a:t>
            </a:r>
            <a:endParaRPr lang="es-PE" sz="1400" dirty="0">
              <a:solidFill>
                <a:prstClr val="black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9" name="48 Rectángulo"/>
          <p:cNvSpPr/>
          <p:nvPr userDrawn="1"/>
        </p:nvSpPr>
        <p:spPr>
          <a:xfrm>
            <a:off x="3330082" y="1839580"/>
            <a:ext cx="5531839" cy="446973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PE" sz="700" b="1">
              <a:solidFill>
                <a:prstClr val="black"/>
              </a:solidFill>
              <a:ea typeface="Segoe UI" panose="020B0502040204020203" pitchFamily="34" charset="0"/>
            </a:endParaRPr>
          </a:p>
        </p:txBody>
      </p:sp>
      <p:sp>
        <p:nvSpPr>
          <p:cNvPr id="6" name="5 Rectángulo"/>
          <p:cNvSpPr/>
          <p:nvPr userDrawn="1"/>
        </p:nvSpPr>
        <p:spPr>
          <a:xfrm>
            <a:off x="0" y="0"/>
            <a:ext cx="7532308" cy="39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7514004" y="0"/>
            <a:ext cx="1860923" cy="396000"/>
            <a:chOff x="6393160" y="0"/>
            <a:chExt cx="1512000" cy="396000"/>
          </a:xfrm>
        </p:grpSpPr>
        <p:sp>
          <p:nvSpPr>
            <p:cNvPr id="8" name="7 Rectángulo"/>
            <p:cNvSpPr/>
            <p:nvPr/>
          </p:nvSpPr>
          <p:spPr>
            <a:xfrm>
              <a:off x="6393160" y="0"/>
              <a:ext cx="1512000" cy="39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542925"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200" dirty="0">
                  <a:solidFill>
                    <a:prstClr val="black"/>
                  </a:solidFill>
                  <a:latin typeface="Franklin Gothic Demi Cond" panose="020B0706030402020204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__/__/____</a:t>
              </a:r>
              <a:endParaRPr lang="es-PE" sz="1200" dirty="0">
                <a:solidFill>
                  <a:prstClr val="black"/>
                </a:solidFill>
                <a:latin typeface="Franklin Gothic Demi Cond" panose="020B0706030402020204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8 CuadroTexto"/>
            <p:cNvSpPr txBox="1"/>
            <p:nvPr/>
          </p:nvSpPr>
          <p:spPr>
            <a:xfrm>
              <a:off x="6449907" y="43756"/>
              <a:ext cx="504000" cy="3084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>
                  <a:solidFill>
                    <a:prstClr val="black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Fecha de edición:</a:t>
              </a:r>
            </a:p>
          </p:txBody>
        </p:sp>
      </p:grpSp>
      <p:sp>
        <p:nvSpPr>
          <p:cNvPr id="11" name="10 Rectángulo"/>
          <p:cNvSpPr/>
          <p:nvPr/>
        </p:nvSpPr>
        <p:spPr>
          <a:xfrm>
            <a:off x="6149844" y="0"/>
            <a:ext cx="1373538" cy="39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6219686" y="90000"/>
            <a:ext cx="620308" cy="216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MX" sz="10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ón: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9374927" y="0"/>
            <a:ext cx="2817073" cy="39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MX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s-PE" sz="7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 userDrawn="1">
            <p:ph type="title" hasCustomPrompt="1"/>
          </p:nvPr>
        </p:nvSpPr>
        <p:spPr>
          <a:xfrm>
            <a:off x="142032" y="77467"/>
            <a:ext cx="5937231" cy="252000"/>
          </a:xfrm>
        </p:spPr>
        <p:txBody>
          <a:bodyPr vert="horz" lIns="0" tIns="0" rIns="0" bIns="0" rtlCol="0" anchor="ctr">
            <a:noAutofit/>
          </a:bodyPr>
          <a:lstStyle>
            <a:lvl1pPr algn="l">
              <a:defRPr lang="es-PE" sz="1500" dirty="0">
                <a:latin typeface="Franklin Gothic Demi Cond" panose="020B0706030402020204" pitchFamily="34" charset="0"/>
              </a:defRPr>
            </a:lvl1pPr>
          </a:lstStyle>
          <a:p>
            <a:pPr lvl="0" algn="l"/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16" name="15 Rectángulo"/>
          <p:cNvSpPr/>
          <p:nvPr userDrawn="1"/>
        </p:nvSpPr>
        <p:spPr>
          <a:xfrm>
            <a:off x="0" y="6434684"/>
            <a:ext cx="11514757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16 Rectángulo"/>
          <p:cNvSpPr/>
          <p:nvPr userDrawn="1"/>
        </p:nvSpPr>
        <p:spPr>
          <a:xfrm>
            <a:off x="11514757" y="6434684"/>
            <a:ext cx="677243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PE" sz="9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17 CuadroTexto"/>
          <p:cNvSpPr txBox="1"/>
          <p:nvPr userDrawn="1"/>
        </p:nvSpPr>
        <p:spPr>
          <a:xfrm>
            <a:off x="11565378" y="6453352"/>
            <a:ext cx="576000" cy="144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ágina:</a:t>
            </a:r>
          </a:p>
        </p:txBody>
      </p:sp>
      <p:sp>
        <p:nvSpPr>
          <p:cNvPr id="4" name="3 Marcador de pie de página"/>
          <p:cNvSpPr>
            <a:spLocks noGrp="1"/>
          </p:cNvSpPr>
          <p:nvPr userDrawn="1">
            <p:ph type="ftr" sz="quarter" idx="11"/>
          </p:nvPr>
        </p:nvSpPr>
        <p:spPr>
          <a:xfrm>
            <a:off x="144000" y="6453352"/>
            <a:ext cx="11269514" cy="404648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just"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dirty="0">
                <a:solidFill>
                  <a:prstClr val="black"/>
                </a:solidFill>
              </a:rPr>
              <a:t>Elaborado por OFT</a:t>
            </a:r>
          </a:p>
        </p:txBody>
      </p:sp>
      <p:sp>
        <p:nvSpPr>
          <p:cNvPr id="5" name="4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11572007" y="6604972"/>
            <a:ext cx="576000" cy="216000"/>
          </a:xfrm>
        </p:spPr>
        <p:txBody>
          <a:bodyPr lIns="36000" tIns="0" rIns="36000" bIns="0" anchor="b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CEA3C8A-472D-4DA1-A972-24C170072E9D}" type="slidenum">
              <a:rPr lang="es-PE" smtClean="0">
                <a:solidFill>
                  <a:prstClr val="black"/>
                </a:solidFill>
              </a:rPr>
              <a:pPr/>
              <a:t>‹Nº›</a:t>
            </a:fld>
            <a:endParaRPr lang="es-PE">
              <a:solidFill>
                <a:prstClr val="black"/>
              </a:solidFill>
            </a:endParaRPr>
          </a:p>
        </p:txBody>
      </p:sp>
      <p:sp>
        <p:nvSpPr>
          <p:cNvPr id="24" name="23 Marcador de texto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18628" y="90000"/>
            <a:ext cx="443077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171450" indent="-171450">
              <a:buFont typeface="Arial" panose="020B0604020202020204" pitchFamily="34" charset="0"/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X.X</a:t>
            </a:r>
            <a:endParaRPr lang="es-PE" dirty="0"/>
          </a:p>
        </p:txBody>
      </p:sp>
      <p:sp>
        <p:nvSpPr>
          <p:cNvPr id="26" name="25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8264768" y="116656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7" name="25 Marcador de texto"/>
          <p:cNvSpPr>
            <a:spLocks noGrp="1"/>
          </p:cNvSpPr>
          <p:nvPr>
            <p:ph type="body" sz="quarter" idx="16" hasCustomPrompt="1"/>
          </p:nvPr>
        </p:nvSpPr>
        <p:spPr>
          <a:xfrm>
            <a:off x="8554060" y="116656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8" name="25 Marcador de texto"/>
          <p:cNvSpPr>
            <a:spLocks noGrp="1"/>
          </p:cNvSpPr>
          <p:nvPr>
            <p:ph type="body" sz="quarter" idx="17" hasCustomPrompt="1"/>
          </p:nvPr>
        </p:nvSpPr>
        <p:spPr>
          <a:xfrm>
            <a:off x="8843382" y="116656"/>
            <a:ext cx="443077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99</a:t>
            </a:r>
            <a:endParaRPr lang="es-PE" dirty="0"/>
          </a:p>
        </p:txBody>
      </p:sp>
      <p:grpSp>
        <p:nvGrpSpPr>
          <p:cNvPr id="20" name="19 Grupo"/>
          <p:cNvGrpSpPr/>
          <p:nvPr userDrawn="1"/>
        </p:nvGrpSpPr>
        <p:grpSpPr>
          <a:xfrm>
            <a:off x="3526213" y="2068092"/>
            <a:ext cx="3101538" cy="244599"/>
            <a:chOff x="2834645" y="1131987"/>
            <a:chExt cx="2520000" cy="244599"/>
          </a:xfrm>
        </p:grpSpPr>
        <p:sp>
          <p:nvSpPr>
            <p:cNvPr id="29" name="28 CuadroTexto"/>
            <p:cNvSpPr txBox="1"/>
            <p:nvPr userDrawn="1"/>
          </p:nvSpPr>
          <p:spPr>
            <a:xfrm>
              <a:off x="2834645" y="1131987"/>
              <a:ext cx="2520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AGENDA DE LA REUNIÓN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33" name="32 Conector recto"/>
            <p:cNvCxnSpPr/>
            <p:nvPr userDrawn="1"/>
          </p:nvCxnSpPr>
          <p:spPr>
            <a:xfrm>
              <a:off x="2834645" y="1376586"/>
              <a:ext cx="2520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37 Grupo"/>
          <p:cNvGrpSpPr/>
          <p:nvPr userDrawn="1"/>
        </p:nvGrpSpPr>
        <p:grpSpPr>
          <a:xfrm>
            <a:off x="10615887" y="4797152"/>
            <a:ext cx="1240615" cy="216024"/>
            <a:chOff x="6495643" y="836712"/>
            <a:chExt cx="1008000" cy="216024"/>
          </a:xfrm>
        </p:grpSpPr>
        <p:sp>
          <p:nvSpPr>
            <p:cNvPr id="31" name="30 CuadroTexto"/>
            <p:cNvSpPr txBox="1"/>
            <p:nvPr userDrawn="1"/>
          </p:nvSpPr>
          <p:spPr>
            <a:xfrm>
              <a:off x="6495643" y="836712"/>
              <a:ext cx="100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FRECUENCIA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35" name="34 Conector recto"/>
            <p:cNvCxnSpPr/>
            <p:nvPr userDrawn="1"/>
          </p:nvCxnSpPr>
          <p:spPr>
            <a:xfrm>
              <a:off x="6495643" y="1052736"/>
              <a:ext cx="1008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24 Grupo"/>
          <p:cNvGrpSpPr/>
          <p:nvPr userDrawn="1"/>
        </p:nvGrpSpPr>
        <p:grpSpPr>
          <a:xfrm>
            <a:off x="3526213" y="4805597"/>
            <a:ext cx="3101538" cy="216024"/>
            <a:chOff x="7569999" y="730032"/>
            <a:chExt cx="2520000" cy="216024"/>
          </a:xfrm>
        </p:grpSpPr>
        <p:sp>
          <p:nvSpPr>
            <p:cNvPr id="32" name="31 CuadroTexto"/>
            <p:cNvSpPr txBox="1"/>
            <p:nvPr userDrawn="1"/>
          </p:nvSpPr>
          <p:spPr>
            <a:xfrm>
              <a:off x="7569999" y="730032"/>
              <a:ext cx="208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INDICADORES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36" name="35 Conector recto"/>
            <p:cNvCxnSpPr/>
            <p:nvPr userDrawn="1"/>
          </p:nvCxnSpPr>
          <p:spPr>
            <a:xfrm>
              <a:off x="7569999" y="946056"/>
              <a:ext cx="2520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38 Grupo"/>
          <p:cNvGrpSpPr/>
          <p:nvPr userDrawn="1"/>
        </p:nvGrpSpPr>
        <p:grpSpPr>
          <a:xfrm>
            <a:off x="9109395" y="4797152"/>
            <a:ext cx="1240617" cy="334698"/>
            <a:chOff x="5421287" y="836712"/>
            <a:chExt cx="1008001" cy="334698"/>
          </a:xfrm>
        </p:grpSpPr>
        <p:sp>
          <p:nvSpPr>
            <p:cNvPr id="30" name="29 CuadroTexto"/>
            <p:cNvSpPr txBox="1"/>
            <p:nvPr userDrawn="1"/>
          </p:nvSpPr>
          <p:spPr>
            <a:xfrm>
              <a:off x="5421288" y="836712"/>
              <a:ext cx="100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DURACIÓN</a:t>
              </a:r>
              <a:r>
                <a:rPr lang="es-MX" sz="1100" baseline="300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(*)</a:t>
              </a:r>
              <a:endParaRPr lang="es-PE" sz="1100" baseline="300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34" name="33 Conector recto"/>
            <p:cNvCxnSpPr/>
            <p:nvPr userDrawn="1"/>
          </p:nvCxnSpPr>
          <p:spPr>
            <a:xfrm>
              <a:off x="5421288" y="1052736"/>
              <a:ext cx="1008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36 CuadroTexto"/>
            <p:cNvSpPr txBox="1"/>
            <p:nvPr userDrawn="1"/>
          </p:nvSpPr>
          <p:spPr>
            <a:xfrm>
              <a:off x="5421287" y="1063410"/>
              <a:ext cx="992587" cy="10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700" dirty="0">
                  <a:solidFill>
                    <a:prstClr val="black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*) m: minutos y h: horas</a:t>
              </a:r>
              <a:endParaRPr lang="es-PE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0" name="39 Grupo"/>
          <p:cNvGrpSpPr/>
          <p:nvPr userDrawn="1"/>
        </p:nvGrpSpPr>
        <p:grpSpPr>
          <a:xfrm>
            <a:off x="190265" y="2065041"/>
            <a:ext cx="3101538" cy="240407"/>
            <a:chOff x="7569999" y="812329"/>
            <a:chExt cx="2088000" cy="240407"/>
          </a:xfrm>
        </p:grpSpPr>
        <p:sp>
          <p:nvSpPr>
            <p:cNvPr id="41" name="40 CuadroTexto"/>
            <p:cNvSpPr txBox="1"/>
            <p:nvPr userDrawn="1"/>
          </p:nvSpPr>
          <p:spPr>
            <a:xfrm>
              <a:off x="7569999" y="812329"/>
              <a:ext cx="208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ENTRADAS (INPUTS)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42" name="41 Conector recto"/>
            <p:cNvCxnSpPr/>
            <p:nvPr userDrawn="1"/>
          </p:nvCxnSpPr>
          <p:spPr>
            <a:xfrm>
              <a:off x="7569999" y="1052736"/>
              <a:ext cx="2088000" cy="0"/>
            </a:xfrm>
            <a:prstGeom prst="line">
              <a:avLst/>
            </a:prstGeom>
            <a:ln w="3810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42 Grupo"/>
          <p:cNvGrpSpPr/>
          <p:nvPr userDrawn="1"/>
        </p:nvGrpSpPr>
        <p:grpSpPr>
          <a:xfrm>
            <a:off x="8932008" y="2065041"/>
            <a:ext cx="3101538" cy="240407"/>
            <a:chOff x="7569999" y="812329"/>
            <a:chExt cx="2088000" cy="240407"/>
          </a:xfrm>
        </p:grpSpPr>
        <p:sp>
          <p:nvSpPr>
            <p:cNvPr id="44" name="43 CuadroTexto"/>
            <p:cNvSpPr txBox="1"/>
            <p:nvPr userDrawn="1"/>
          </p:nvSpPr>
          <p:spPr>
            <a:xfrm>
              <a:off x="7569999" y="812329"/>
              <a:ext cx="208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SALIDAS (OUTPUTS)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45" name="44 Conector recto"/>
            <p:cNvCxnSpPr/>
            <p:nvPr userDrawn="1"/>
          </p:nvCxnSpPr>
          <p:spPr>
            <a:xfrm>
              <a:off x="7569999" y="1052736"/>
              <a:ext cx="2088000" cy="0"/>
            </a:xfrm>
            <a:prstGeom prst="line">
              <a:avLst/>
            </a:prstGeom>
            <a:ln w="3810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45 Grupo"/>
          <p:cNvGrpSpPr/>
          <p:nvPr userDrawn="1"/>
        </p:nvGrpSpPr>
        <p:grpSpPr>
          <a:xfrm>
            <a:off x="190265" y="4797152"/>
            <a:ext cx="3012923" cy="216024"/>
            <a:chOff x="7569999" y="836712"/>
            <a:chExt cx="2088000" cy="216024"/>
          </a:xfrm>
        </p:grpSpPr>
        <p:sp>
          <p:nvSpPr>
            <p:cNvPr id="47" name="46 CuadroTexto"/>
            <p:cNvSpPr txBox="1"/>
            <p:nvPr userDrawn="1"/>
          </p:nvSpPr>
          <p:spPr>
            <a:xfrm>
              <a:off x="7569999" y="836712"/>
              <a:ext cx="208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PARTICIPANTES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48" name="47 Conector recto"/>
            <p:cNvCxnSpPr/>
            <p:nvPr userDrawn="1"/>
          </p:nvCxnSpPr>
          <p:spPr>
            <a:xfrm>
              <a:off x="7569999" y="1052736"/>
              <a:ext cx="2088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21 Marcador de texto"/>
          <p:cNvSpPr>
            <a:spLocks noGrp="1"/>
          </p:cNvSpPr>
          <p:nvPr>
            <p:ph type="body" sz="quarter" idx="18"/>
          </p:nvPr>
        </p:nvSpPr>
        <p:spPr>
          <a:xfrm>
            <a:off x="3504000" y="2420888"/>
            <a:ext cx="5184000" cy="2232248"/>
          </a:xfrm>
          <a:noFill/>
        </p:spPr>
        <p:txBody>
          <a:bodyPr wrap="square" lIns="0" tIns="0" rIns="0" bIns="0" rtlCol="0" anchor="t">
            <a:noAutofit/>
          </a:bodyPr>
          <a:lstStyle>
            <a:lvl1pPr marL="171450" indent="-171450" algn="just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51" name="21 Marcador de texto"/>
          <p:cNvSpPr>
            <a:spLocks noGrp="1"/>
          </p:cNvSpPr>
          <p:nvPr>
            <p:ph type="body" sz="quarter" idx="19"/>
          </p:nvPr>
        </p:nvSpPr>
        <p:spPr>
          <a:xfrm>
            <a:off x="3504000" y="5072122"/>
            <a:ext cx="5184000" cy="435918"/>
          </a:xfrm>
          <a:noFill/>
        </p:spPr>
        <p:txBody>
          <a:bodyPr wrap="square" lIns="0" tIns="0" rIns="0" bIns="0" numCol="2" spcCol="180000" rtlCol="0" anchor="t">
            <a:noAutofit/>
          </a:bodyPr>
          <a:lstStyle>
            <a:lvl1pPr marL="276225" indent="-171450" algn="just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55" name="21 Marcador de texto"/>
          <p:cNvSpPr>
            <a:spLocks noGrp="1"/>
          </p:cNvSpPr>
          <p:nvPr>
            <p:ph type="body" sz="quarter" idx="21"/>
          </p:nvPr>
        </p:nvSpPr>
        <p:spPr>
          <a:xfrm>
            <a:off x="190265" y="2420888"/>
            <a:ext cx="3012923" cy="2232248"/>
          </a:xfrm>
          <a:noFill/>
        </p:spPr>
        <p:txBody>
          <a:bodyPr wrap="square" lIns="0" tIns="0" rIns="0" bIns="0" rtlCol="0" anchor="t">
            <a:noAutofit/>
          </a:bodyPr>
          <a:lstStyle>
            <a:lvl1pPr marL="171450" indent="-171450" algn="just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56" name="21 Marcador de texto"/>
          <p:cNvSpPr>
            <a:spLocks noGrp="1"/>
          </p:cNvSpPr>
          <p:nvPr>
            <p:ph type="body" sz="quarter" idx="22"/>
          </p:nvPr>
        </p:nvSpPr>
        <p:spPr>
          <a:xfrm>
            <a:off x="8976315" y="2420888"/>
            <a:ext cx="3012923" cy="2232248"/>
          </a:xfrm>
          <a:noFill/>
        </p:spPr>
        <p:txBody>
          <a:bodyPr wrap="square" lIns="0" tIns="0" rIns="0" bIns="0" rtlCol="0" anchor="t">
            <a:noAutofit/>
          </a:bodyPr>
          <a:lstStyle>
            <a:lvl1pPr marL="171450" indent="-171450" algn="just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57" name="21 Marcador de texto"/>
          <p:cNvSpPr>
            <a:spLocks noGrp="1"/>
          </p:cNvSpPr>
          <p:nvPr>
            <p:ph type="body" sz="quarter" idx="23"/>
          </p:nvPr>
        </p:nvSpPr>
        <p:spPr>
          <a:xfrm>
            <a:off x="279235" y="802804"/>
            <a:ext cx="11652923" cy="576000"/>
          </a:xfrm>
          <a:noFill/>
        </p:spPr>
        <p:txBody>
          <a:bodyPr wrap="square" lIns="0" tIns="0" rIns="0" bIns="0" numCol="2" spcCol="288000" rtlCol="0" anchor="t">
            <a:noAutofit/>
          </a:bodyPr>
          <a:lstStyle>
            <a:lvl1pPr marL="171450" indent="-171450">
              <a:buSzPct val="130000"/>
              <a:buFont typeface="Arial" panose="020B0604020202020204" pitchFamily="34" charset="0"/>
              <a:buChar char="•"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58" name="21 Marcador de texto"/>
          <p:cNvSpPr>
            <a:spLocks noGrp="1"/>
          </p:cNvSpPr>
          <p:nvPr>
            <p:ph type="body" sz="quarter" idx="24"/>
          </p:nvPr>
        </p:nvSpPr>
        <p:spPr>
          <a:xfrm>
            <a:off x="190265" y="5072121"/>
            <a:ext cx="3012923" cy="1224000"/>
          </a:xfrm>
          <a:noFill/>
        </p:spPr>
        <p:txBody>
          <a:bodyPr wrap="square" lIns="0" tIns="0" rIns="0" bIns="0" rtlCol="0" anchor="t">
            <a:noAutofit/>
          </a:bodyPr>
          <a:lstStyle>
            <a:lvl1pPr marL="171450" indent="-171450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60" name="21 Marcador de texto"/>
          <p:cNvSpPr>
            <a:spLocks noGrp="1"/>
          </p:cNvSpPr>
          <p:nvPr>
            <p:ph type="body" sz="quarter" idx="25"/>
          </p:nvPr>
        </p:nvSpPr>
        <p:spPr>
          <a:xfrm>
            <a:off x="9109395" y="5190116"/>
            <a:ext cx="1240615" cy="687157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 algn="ctr">
              <a:buSzPct val="130000"/>
              <a:buFont typeface="Arial" panose="020B0604020202020204" pitchFamily="34" charset="0"/>
              <a:buNone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61" name="21 Marcador de texto"/>
          <p:cNvSpPr>
            <a:spLocks noGrp="1"/>
          </p:cNvSpPr>
          <p:nvPr>
            <p:ph type="body" sz="quarter" idx="26"/>
          </p:nvPr>
        </p:nvSpPr>
        <p:spPr>
          <a:xfrm>
            <a:off x="10615887" y="5190116"/>
            <a:ext cx="1240615" cy="687157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 algn="ctr">
              <a:buSzPct val="130000"/>
              <a:buFont typeface="Arial" panose="020B0604020202020204" pitchFamily="34" charset="0"/>
              <a:buNone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grpSp>
        <p:nvGrpSpPr>
          <p:cNvPr id="53" name="24 Grupo"/>
          <p:cNvGrpSpPr/>
          <p:nvPr userDrawn="1"/>
        </p:nvGrpSpPr>
        <p:grpSpPr>
          <a:xfrm>
            <a:off x="3516688" y="5539022"/>
            <a:ext cx="3101538" cy="216024"/>
            <a:chOff x="7569999" y="730032"/>
            <a:chExt cx="2520000" cy="216024"/>
          </a:xfrm>
        </p:grpSpPr>
        <p:sp>
          <p:nvSpPr>
            <p:cNvPr id="54" name="31 CuadroTexto"/>
            <p:cNvSpPr txBox="1"/>
            <p:nvPr userDrawn="1"/>
          </p:nvSpPr>
          <p:spPr>
            <a:xfrm>
              <a:off x="7569999" y="730032"/>
              <a:ext cx="2088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400" dirty="0">
                  <a:solidFill>
                    <a:prstClr val="black"/>
                  </a:solidFill>
                  <a:latin typeface="Franklin Gothic Demi Cond" panose="020B0706030402020204" pitchFamily="34" charset="0"/>
                </a:rPr>
                <a:t>INICIATIVAS</a:t>
              </a:r>
              <a:endParaRPr lang="es-PE" sz="1400" dirty="0">
                <a:solidFill>
                  <a:prstClr val="black"/>
                </a:solidFill>
                <a:latin typeface="Franklin Gothic Demi Cond" panose="020B0706030402020204" pitchFamily="34" charset="0"/>
              </a:endParaRPr>
            </a:p>
          </p:txBody>
        </p:sp>
        <p:cxnSp>
          <p:nvCxnSpPr>
            <p:cNvPr id="62" name="35 Conector recto"/>
            <p:cNvCxnSpPr/>
            <p:nvPr userDrawn="1"/>
          </p:nvCxnSpPr>
          <p:spPr>
            <a:xfrm>
              <a:off x="7569999" y="946056"/>
              <a:ext cx="2520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21 Marcador de texto"/>
          <p:cNvSpPr>
            <a:spLocks noGrp="1"/>
          </p:cNvSpPr>
          <p:nvPr>
            <p:ph type="body" sz="quarter" idx="27"/>
          </p:nvPr>
        </p:nvSpPr>
        <p:spPr>
          <a:xfrm>
            <a:off x="3494475" y="5805547"/>
            <a:ext cx="5184000" cy="435918"/>
          </a:xfrm>
          <a:noFill/>
        </p:spPr>
        <p:txBody>
          <a:bodyPr wrap="square" lIns="0" tIns="0" rIns="0" bIns="0" numCol="2" spcCol="180000" rtlCol="0" anchor="t">
            <a:noAutofit/>
          </a:bodyPr>
          <a:lstStyle>
            <a:lvl1pPr marL="276225" indent="-171450" algn="just">
              <a:buSzPct val="130000"/>
              <a:buFont typeface="Arial" panose="020B0604020202020204" pitchFamily="34" charset="0"/>
              <a:buChar char="•"/>
              <a:defRPr lang="es-ES" sz="9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1494971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 userDrawn="1"/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206">
              <a:defRPr/>
            </a:pPr>
            <a:fld id="{7ED418F5-4791-4B18-A7E7-B523FDD38919}" type="slidenum">
              <a:rPr lang="en-US" smtClean="0"/>
              <a:pPr defTabSz="914206">
                <a:defRPr/>
              </a:pPr>
              <a:t>‹Nº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62621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6291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15" y="11"/>
            <a:ext cx="12187680" cy="6859620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7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3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</p:grpSp>
      <p:sp>
        <p:nvSpPr>
          <p:cNvPr id="14" name="Working Draft Text" hidden="1"/>
          <p:cNvSpPr txBox="1">
            <a:spLocks noChangeArrowheads="1"/>
          </p:cNvSpPr>
          <p:nvPr/>
        </p:nvSpPr>
        <p:spPr bwMode="auto">
          <a:xfrm>
            <a:off x="3760191" y="544238"/>
            <a:ext cx="99386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15" name="Working Draft" hidden="1"/>
          <p:cNvSpPr txBox="1">
            <a:spLocks noChangeArrowheads="1"/>
          </p:cNvSpPr>
          <p:nvPr/>
        </p:nvSpPr>
        <p:spPr bwMode="auto">
          <a:xfrm>
            <a:off x="3760193" y="702977"/>
            <a:ext cx="298158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>
                <a:solidFill>
                  <a:srgbClr val="000000"/>
                </a:solidFill>
              </a:rPr>
              <a:t>Working Draft - Last Modified 03/08/2012 05:46:18 p.m.</a:t>
            </a:r>
          </a:p>
        </p:txBody>
      </p:sp>
      <p:sp>
        <p:nvSpPr>
          <p:cNvPr id="16" name="Printed" hidden="1"/>
          <p:cNvSpPr txBox="1">
            <a:spLocks noChangeArrowheads="1"/>
          </p:cNvSpPr>
          <p:nvPr/>
        </p:nvSpPr>
        <p:spPr bwMode="auto">
          <a:xfrm>
            <a:off x="3760193" y="863328"/>
            <a:ext cx="305853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0">
                <a:solidFill>
                  <a:srgbClr val="000000"/>
                </a:solidFill>
              </a:rPr>
              <a:t>Printed 28/03/2012 05:18:47 p.m. SA Pacific Standard Time</a:t>
            </a:r>
          </a:p>
        </p:txBody>
      </p:sp>
      <p:grpSp>
        <p:nvGrpSpPr>
          <p:cNvPr id="17" name="McK Title Elements"/>
          <p:cNvGrpSpPr>
            <a:grpSpLocks/>
          </p:cNvGrpSpPr>
          <p:nvPr/>
        </p:nvGrpSpPr>
        <p:grpSpPr bwMode="auto">
          <a:xfrm>
            <a:off x="15" y="11"/>
            <a:ext cx="12187680" cy="6859620"/>
            <a:chOff x="0" y="0"/>
            <a:chExt cx="5643" cy="4235"/>
          </a:xfrm>
        </p:grpSpPr>
        <p:sp>
          <p:nvSpPr>
            <p:cNvPr id="1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2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7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54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2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  <p:sp>
          <p:nvSpPr>
            <p:cNvPr id="23" name="Rectangle 28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20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 b="1">
                <a:solidFill>
                  <a:srgbClr val="FFFFFF"/>
                </a:solidFill>
              </a:endParaRPr>
            </a:p>
          </p:txBody>
        </p:sp>
      </p:grpSp>
      <p:pic>
        <p:nvPicPr>
          <p:cNvPr id="2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95" y="6574558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" name="McK Slide Elements"/>
          <p:cNvGrpSpPr>
            <a:grpSpLocks/>
          </p:cNvGrpSpPr>
          <p:nvPr/>
        </p:nvGrpSpPr>
        <p:grpSpPr bwMode="auto">
          <a:xfrm>
            <a:off x="161986" y="6291100"/>
            <a:ext cx="11630453" cy="495642"/>
            <a:chOff x="75" y="3884"/>
            <a:chExt cx="5385" cy="306"/>
          </a:xfrm>
        </p:grpSpPr>
        <p:sp>
          <p:nvSpPr>
            <p:cNvPr id="26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2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6463" indent="-616463" defTabSz="906087" fontAlgn="base">
                <a:spcBef>
                  <a:spcPct val="0"/>
                </a:spcBef>
                <a:spcAft>
                  <a:spcPct val="0"/>
                </a:spcAft>
                <a:tabLst>
                  <a:tab pos="619699" algn="l"/>
                </a:tabLst>
              </a:pPr>
              <a:r>
                <a:rPr lang="en-US" sz="900" b="1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28" name="Freeform 11"/>
          <p:cNvSpPr>
            <a:spLocks/>
          </p:cNvSpPr>
          <p:nvPr/>
        </p:nvSpPr>
        <p:spPr bwMode="auto">
          <a:xfrm>
            <a:off x="2356343" y="6574557"/>
            <a:ext cx="9835668" cy="283452"/>
          </a:xfrm>
          <a:prstGeom prst="rect">
            <a:avLst/>
          </a:prstGeom>
          <a:solidFill>
            <a:srgbClr val="5B8EC5"/>
          </a:solidFill>
          <a:ln>
            <a:noFill/>
          </a:ln>
        </p:spPr>
        <p:txBody>
          <a:bodyPr lIns="92742" tIns="46374" rIns="92742" bIns="46374"/>
          <a:lstStyle/>
          <a:p>
            <a:pPr algn="just" defTabSz="914206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itchFamily="2" charset="2"/>
              <a:buChar char="§"/>
            </a:pPr>
            <a:endParaRPr lang="es-PE" sz="1100" b="1">
              <a:solidFill>
                <a:srgbClr val="000000"/>
              </a:solidFill>
            </a:endParaRPr>
          </a:p>
        </p:txBody>
      </p:sp>
      <p:sp>
        <p:nvSpPr>
          <p:cNvPr id="158825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3591727" y="2176997"/>
            <a:ext cx="6714779" cy="507831"/>
          </a:xfrm>
        </p:spPr>
        <p:txBody>
          <a:bodyPr/>
          <a:lstStyle>
            <a:lvl1pPr>
              <a:defRPr sz="3300"/>
            </a:lvl1pPr>
          </a:lstStyle>
          <a:p>
            <a:r>
              <a:rPr lang="es-ES"/>
              <a:t>Click to edit Master title</a:t>
            </a:r>
          </a:p>
        </p:txBody>
      </p:sp>
      <p:sp>
        <p:nvSpPr>
          <p:cNvPr id="158825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3591727" y="3945717"/>
            <a:ext cx="6714779" cy="310991"/>
          </a:xfrm>
        </p:spPr>
        <p:txBody>
          <a:bodyPr>
            <a:spAutoFit/>
          </a:bodyPr>
          <a:lstStyle>
            <a:lvl1pPr>
              <a:defRPr sz="2000"/>
            </a:lvl1pPr>
          </a:lstStyle>
          <a:p>
            <a:r>
              <a:rPr lang="es-ES"/>
              <a:t>Click to edit Master subtitle style</a:t>
            </a:r>
          </a:p>
        </p:txBody>
      </p:sp>
      <p:sp>
        <p:nvSpPr>
          <p:cNvPr id="1588232" name="1588231 Rectángulo"/>
          <p:cNvSpPr/>
          <p:nvPr userDrawn="1"/>
        </p:nvSpPr>
        <p:spPr>
          <a:xfrm>
            <a:off x="0" y="11"/>
            <a:ext cx="2927648" cy="6857998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16" tIns="46609" rIns="93216" bIns="46609" rtlCol="0" anchor="ctr"/>
          <a:lstStyle/>
          <a:p>
            <a:pPr algn="ctr" defTabSz="914206" fontAlgn="base">
              <a:spcBef>
                <a:spcPct val="0"/>
              </a:spcBef>
              <a:spcAft>
                <a:spcPct val="0"/>
              </a:spcAft>
            </a:pPr>
            <a:endParaRPr lang="es-PE" sz="10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33413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667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2006" y="234868"/>
            <a:ext cx="11725484" cy="29238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Rectangle 29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565B70-EC38-44CB-9844-60870F45F915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08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lIns="91420" tIns="45711" rIns="91420" bIns="45711"/>
          <a:lstStyle/>
          <a:p>
            <a:pPr defTabSz="914109"/>
            <a:fld id="{0F8A1E44-B5EA-4270-9043-77C5BC62A543}" type="datetime1">
              <a:rPr lang="es-PE" smtClean="0">
                <a:solidFill>
                  <a:srgbClr val="000000"/>
                </a:solidFill>
              </a:rPr>
              <a:pPr defTabSz="914109"/>
              <a:t>3/02/2023</a:t>
            </a:fld>
            <a:endParaRPr lang="es-PE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lIns="91420" tIns="45711" rIns="91420" bIns="45711"/>
          <a:lstStyle/>
          <a:p>
            <a:pPr defTabSz="914109"/>
            <a:endParaRPr lang="es-P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5821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15.1.2 - Worksheet ED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4" name="1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 userDrawn="1"/>
        </p:nvSpPr>
        <p:spPr>
          <a:xfrm>
            <a:off x="0" y="488443"/>
            <a:ext cx="12192000" cy="6036909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5 Rectángulo"/>
          <p:cNvSpPr/>
          <p:nvPr userDrawn="1"/>
        </p:nvSpPr>
        <p:spPr>
          <a:xfrm>
            <a:off x="0" y="0"/>
            <a:ext cx="7532308" cy="7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7514004" y="324000"/>
            <a:ext cx="1860923" cy="396000"/>
            <a:chOff x="6393160" y="0"/>
            <a:chExt cx="1512000" cy="396000"/>
          </a:xfrm>
        </p:grpSpPr>
        <p:sp>
          <p:nvSpPr>
            <p:cNvPr id="8" name="7 Rectángulo"/>
            <p:cNvSpPr/>
            <p:nvPr/>
          </p:nvSpPr>
          <p:spPr>
            <a:xfrm>
              <a:off x="6393160" y="0"/>
              <a:ext cx="1512000" cy="39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542925"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200" dirty="0">
                  <a:solidFill>
                    <a:prstClr val="black"/>
                  </a:solidFill>
                  <a:latin typeface="Franklin Gothic Demi Cond" panose="020B0706030402020204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__/__/____</a:t>
              </a:r>
              <a:endParaRPr lang="es-PE" sz="1200" dirty="0">
                <a:solidFill>
                  <a:prstClr val="black"/>
                </a:solidFill>
                <a:latin typeface="Franklin Gothic Demi Cond" panose="020B0706030402020204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8 CuadroTexto"/>
            <p:cNvSpPr txBox="1"/>
            <p:nvPr/>
          </p:nvSpPr>
          <p:spPr>
            <a:xfrm>
              <a:off x="6449907" y="43756"/>
              <a:ext cx="504000" cy="3084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>
                  <a:solidFill>
                    <a:prstClr val="black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Fecha de edición:</a:t>
              </a:r>
            </a:p>
          </p:txBody>
        </p:sp>
      </p:grpSp>
      <p:sp>
        <p:nvSpPr>
          <p:cNvPr id="11" name="10 Rectángulo"/>
          <p:cNvSpPr/>
          <p:nvPr/>
        </p:nvSpPr>
        <p:spPr>
          <a:xfrm>
            <a:off x="7514004" y="0"/>
            <a:ext cx="1860923" cy="324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583846" y="54000"/>
            <a:ext cx="620308" cy="216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MX" sz="10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ón: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9374927" y="0"/>
            <a:ext cx="2817073" cy="7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es-PE" sz="7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 userDrawn="1">
            <p:ph type="title"/>
          </p:nvPr>
        </p:nvSpPr>
        <p:spPr>
          <a:xfrm>
            <a:off x="142032" y="77467"/>
            <a:ext cx="7266462" cy="216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s-PE" sz="1500" dirty="0">
                <a:latin typeface="Franklin Gothic Demi Cond" panose="020B0706030402020204" pitchFamily="34" charset="0"/>
              </a:defRPr>
            </a:lvl1pPr>
          </a:lstStyle>
          <a:p>
            <a:pPr lvl="0" algn="l"/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16" name="15 Rectángulo"/>
          <p:cNvSpPr/>
          <p:nvPr userDrawn="1"/>
        </p:nvSpPr>
        <p:spPr>
          <a:xfrm>
            <a:off x="0" y="6434684"/>
            <a:ext cx="11514757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542925" algn="just" fontAlgn="base">
              <a:spcBef>
                <a:spcPct val="0"/>
              </a:spcBef>
              <a:spcAft>
                <a:spcPct val="0"/>
              </a:spcAft>
            </a:pPr>
            <a:endParaRPr lang="es-PE" sz="1200" dirty="0">
              <a:solidFill>
                <a:prstClr val="black"/>
              </a:solidFill>
              <a:latin typeface="Franklin Gothic Demi Cond" panose="020B07060304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16 Rectángulo"/>
          <p:cNvSpPr/>
          <p:nvPr userDrawn="1"/>
        </p:nvSpPr>
        <p:spPr>
          <a:xfrm>
            <a:off x="11514757" y="6434684"/>
            <a:ext cx="677243" cy="423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PE" sz="900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17 CuadroTexto"/>
          <p:cNvSpPr txBox="1"/>
          <p:nvPr userDrawn="1"/>
        </p:nvSpPr>
        <p:spPr>
          <a:xfrm>
            <a:off x="11565378" y="6453352"/>
            <a:ext cx="576000" cy="144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ágina:</a:t>
            </a:r>
          </a:p>
        </p:txBody>
      </p:sp>
      <p:sp>
        <p:nvSpPr>
          <p:cNvPr id="4" name="3 Marcador de pie de página"/>
          <p:cNvSpPr>
            <a:spLocks noGrp="1"/>
          </p:cNvSpPr>
          <p:nvPr userDrawn="1">
            <p:ph type="ftr" sz="quarter" idx="11"/>
          </p:nvPr>
        </p:nvSpPr>
        <p:spPr>
          <a:xfrm>
            <a:off x="144000" y="6453352"/>
            <a:ext cx="11269514" cy="404648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just"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PE" dirty="0">
              <a:solidFill>
                <a:prstClr val="black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11572007" y="6604972"/>
            <a:ext cx="576000" cy="216000"/>
          </a:xfrm>
        </p:spPr>
        <p:txBody>
          <a:bodyPr lIns="36000" tIns="0" rIns="36000" bIns="0" anchor="b"/>
          <a:lstStyle>
            <a:lvl1pPr algn="ctr">
              <a:defRPr sz="8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CEA3C8A-472D-4DA1-A972-24C170072E9D}" type="slidenum">
              <a:rPr lang="es-PE" smtClean="0">
                <a:solidFill>
                  <a:prstClr val="black"/>
                </a:solidFill>
              </a:rPr>
              <a:pPr/>
              <a:t>‹Nº›</a:t>
            </a:fld>
            <a:endParaRPr lang="es-PE">
              <a:solidFill>
                <a:prstClr val="black"/>
              </a:solidFill>
            </a:endParaRPr>
          </a:p>
        </p:txBody>
      </p:sp>
      <p:sp>
        <p:nvSpPr>
          <p:cNvPr id="22" name="21 Marcador de texto"/>
          <p:cNvSpPr>
            <a:spLocks noGrp="1"/>
          </p:cNvSpPr>
          <p:nvPr userDrawn="1">
            <p:ph type="body" sz="quarter" idx="13"/>
          </p:nvPr>
        </p:nvSpPr>
        <p:spPr>
          <a:xfrm>
            <a:off x="1753364" y="332656"/>
            <a:ext cx="5672015" cy="324000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/>
            <a:r>
              <a:rPr lang="es-ES" dirty="0"/>
              <a:t>Haga clic para modificar el estilo de texto del patrón</a:t>
            </a:r>
            <a:endParaRPr lang="es-PE" dirty="0"/>
          </a:p>
        </p:txBody>
      </p:sp>
      <p:sp>
        <p:nvSpPr>
          <p:cNvPr id="24" name="23 Marcador de texto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282788" y="54000"/>
            <a:ext cx="974769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171450" indent="-171450">
              <a:buFont typeface="Arial" panose="020B0604020202020204" pitchFamily="34" charset="0"/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X.X</a:t>
            </a:r>
            <a:endParaRPr lang="es-PE" dirty="0"/>
          </a:p>
        </p:txBody>
      </p:sp>
      <p:sp>
        <p:nvSpPr>
          <p:cNvPr id="26" name="25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8264768" y="442764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7" name="25 Marcador de texto"/>
          <p:cNvSpPr>
            <a:spLocks noGrp="1"/>
          </p:cNvSpPr>
          <p:nvPr>
            <p:ph type="body" sz="quarter" idx="16" hasCustomPrompt="1"/>
          </p:nvPr>
        </p:nvSpPr>
        <p:spPr>
          <a:xfrm>
            <a:off x="8554060" y="442764"/>
            <a:ext cx="265846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</a:t>
            </a:r>
            <a:endParaRPr lang="es-PE" dirty="0"/>
          </a:p>
        </p:txBody>
      </p:sp>
      <p:sp>
        <p:nvSpPr>
          <p:cNvPr id="28" name="25 Marcador de texto"/>
          <p:cNvSpPr>
            <a:spLocks noGrp="1"/>
          </p:cNvSpPr>
          <p:nvPr>
            <p:ph type="body" sz="quarter" idx="17" hasCustomPrompt="1"/>
          </p:nvPr>
        </p:nvSpPr>
        <p:spPr>
          <a:xfrm>
            <a:off x="8843382" y="442764"/>
            <a:ext cx="443077" cy="216000"/>
          </a:xfrm>
          <a:noFill/>
        </p:spPr>
        <p:txBody>
          <a:bodyPr vert="horz" wrap="square" lIns="0" tIns="0" rIns="0" bIns="0" rtlCol="0" anchor="b">
            <a:noAutofit/>
          </a:bodyPr>
          <a:lstStyle>
            <a:lvl1pPr marL="342900" indent="-342900" algn="ctr">
              <a:buNone/>
              <a:defRPr lang="es-E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es-ES" sz="1800" smtClean="0"/>
            </a:lvl2pPr>
            <a:lvl3pPr>
              <a:defRPr lang="es-ES" sz="1800" smtClean="0"/>
            </a:lvl3pPr>
            <a:lvl4pPr>
              <a:defRPr lang="es-ES" sz="1800" smtClean="0"/>
            </a:lvl4pPr>
            <a:lvl5pPr>
              <a:defRPr lang="es-PE" sz="1800"/>
            </a:lvl5pPr>
          </a:lstStyle>
          <a:p>
            <a:pPr marL="0" lvl="0" indent="0"/>
            <a:r>
              <a:rPr lang="es-ES" dirty="0"/>
              <a:t>9999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0458947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7"/>
          <p:cNvSpPr txBox="1">
            <a:spLocks noChangeArrowheads="1"/>
          </p:cNvSpPr>
          <p:nvPr/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i="0" kern="1200">
                <a:solidFill>
                  <a:srgbClr val="FFFFFF"/>
                </a:solidFill>
                <a:latin typeface="+mn-lt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400">
              <a:defRPr/>
            </a:pPr>
            <a:fld id="{7ED418F5-4791-4B18-A7E7-B523FDD38919}" type="slidenum">
              <a:rPr lang="en-US" sz="1020" smtClean="0"/>
              <a:pPr defTabSz="914400">
                <a:defRPr/>
              </a:pPr>
              <a:t>‹Nº›</a:t>
            </a:fld>
            <a:r>
              <a:rPr lang="en-US" sz="102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99787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72019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4" y="3"/>
            <a:ext cx="12187680" cy="6859620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13" name="Rectangle 13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</p:grpSp>
      <p:sp>
        <p:nvSpPr>
          <p:cNvPr id="14" name="Working Draft Text" hidden="1"/>
          <p:cNvSpPr txBox="1">
            <a:spLocks noChangeArrowheads="1"/>
          </p:cNvSpPr>
          <p:nvPr/>
        </p:nvSpPr>
        <p:spPr bwMode="auto">
          <a:xfrm>
            <a:off x="3760191" y="544237"/>
            <a:ext cx="99386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15" name="Working Draft" hidden="1"/>
          <p:cNvSpPr txBox="1">
            <a:spLocks noChangeArrowheads="1"/>
          </p:cNvSpPr>
          <p:nvPr/>
        </p:nvSpPr>
        <p:spPr bwMode="auto">
          <a:xfrm>
            <a:off x="3760191" y="702972"/>
            <a:ext cx="2840521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orking Draft - Last Modified 03/08/2012 05:46:18 p.m.</a:t>
            </a:r>
          </a:p>
        </p:txBody>
      </p:sp>
      <p:sp>
        <p:nvSpPr>
          <p:cNvPr id="16" name="Printed" hidden="1"/>
          <p:cNvSpPr txBox="1">
            <a:spLocks noChangeArrowheads="1"/>
          </p:cNvSpPr>
          <p:nvPr/>
        </p:nvSpPr>
        <p:spPr bwMode="auto">
          <a:xfrm>
            <a:off x="3760192" y="863327"/>
            <a:ext cx="305853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1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0">
                <a:solidFill>
                  <a:srgbClr val="000000"/>
                </a:solidFill>
              </a:rPr>
              <a:t>Printed 28/03/2012 05:18:47 p.m. SA Pacific Standard Time</a:t>
            </a:r>
          </a:p>
        </p:txBody>
      </p:sp>
      <p:grpSp>
        <p:nvGrpSpPr>
          <p:cNvPr id="17" name="McK Title Elements"/>
          <p:cNvGrpSpPr>
            <a:grpSpLocks/>
          </p:cNvGrpSpPr>
          <p:nvPr/>
        </p:nvGrpSpPr>
        <p:grpSpPr bwMode="auto">
          <a:xfrm>
            <a:off x="4" y="3"/>
            <a:ext cx="12187680" cy="6859620"/>
            <a:chOff x="0" y="0"/>
            <a:chExt cx="5643" cy="4235"/>
          </a:xfrm>
        </p:grpSpPr>
        <p:sp>
          <p:nvSpPr>
            <p:cNvPr id="1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2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616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2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2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  <p:sp>
          <p:nvSpPr>
            <p:cNvPr id="23" name="Rectangle 28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s-ES" sz="1200">
                <a:solidFill>
                  <a:srgbClr val="FFFFFF"/>
                </a:solidFill>
              </a:endParaRPr>
            </a:p>
          </p:txBody>
        </p:sp>
      </p:grpSp>
      <p:pic>
        <p:nvPicPr>
          <p:cNvPr id="2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2" y="6574548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" name="McK Slide Elements"/>
          <p:cNvGrpSpPr>
            <a:grpSpLocks/>
          </p:cNvGrpSpPr>
          <p:nvPr/>
        </p:nvGrpSpPr>
        <p:grpSpPr bwMode="auto">
          <a:xfrm>
            <a:off x="161985" y="6291092"/>
            <a:ext cx="11630454" cy="495642"/>
            <a:chOff x="75" y="3884"/>
            <a:chExt cx="5385" cy="306"/>
          </a:xfrm>
        </p:grpSpPr>
        <p:sp>
          <p:nvSpPr>
            <p:cNvPr id="26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2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6986" indent="-616986" defTabSz="906855" fontAlgn="base">
                <a:spcBef>
                  <a:spcPct val="0"/>
                </a:spcBef>
                <a:spcAft>
                  <a:spcPct val="0"/>
                </a:spcAft>
                <a:tabLst>
                  <a:tab pos="620224" algn="l"/>
                </a:tabLst>
              </a:pPr>
              <a:r>
                <a:rPr lang="en-US" sz="90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28" name="Freeform 11"/>
          <p:cNvSpPr>
            <a:spLocks/>
          </p:cNvSpPr>
          <p:nvPr/>
        </p:nvSpPr>
        <p:spPr bwMode="auto">
          <a:xfrm>
            <a:off x="2356332" y="6574549"/>
            <a:ext cx="9835669" cy="283452"/>
          </a:xfrm>
          <a:prstGeom prst="rect">
            <a:avLst/>
          </a:prstGeom>
          <a:solidFill>
            <a:srgbClr val="5B8EC5"/>
          </a:solidFill>
          <a:ln>
            <a:noFill/>
          </a:ln>
        </p:spPr>
        <p:txBody>
          <a:bodyPr lIns="92821" tIns="46415" rIns="92821" bIns="46415"/>
          <a:lstStyle/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Wingdings" pitchFamily="2" charset="2"/>
              <a:buChar char="§"/>
            </a:pPr>
            <a:endParaRPr lang="es-PE" sz="1100">
              <a:solidFill>
                <a:srgbClr val="000000"/>
              </a:solidFill>
            </a:endParaRPr>
          </a:p>
        </p:txBody>
      </p:sp>
      <p:sp>
        <p:nvSpPr>
          <p:cNvPr id="158825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3591728" y="2176986"/>
            <a:ext cx="6714778" cy="1015663"/>
          </a:xfrm>
        </p:spPr>
        <p:txBody>
          <a:bodyPr/>
          <a:lstStyle>
            <a:lvl1pPr>
              <a:defRPr sz="33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58825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3591728" y="3945717"/>
            <a:ext cx="6714778" cy="310991"/>
          </a:xfrm>
        </p:spPr>
        <p:txBody>
          <a:bodyPr>
            <a:sp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1588232" name="1588231 Rectángulo"/>
          <p:cNvSpPr/>
          <p:nvPr/>
        </p:nvSpPr>
        <p:spPr>
          <a:xfrm>
            <a:off x="0" y="3"/>
            <a:ext cx="2927648" cy="6857998"/>
          </a:xfrm>
          <a:prstGeom prst="rect">
            <a:avLst/>
          </a:prstGeom>
          <a:solidFill>
            <a:srgbClr val="003366"/>
          </a:solidFill>
          <a:ln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PE" sz="10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2308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289754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313332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269343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82284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6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1" indent="0">
              <a:buNone/>
              <a:defRPr sz="1600" b="1"/>
            </a:lvl5pPr>
            <a:lvl6pPr marL="2286039" indent="0">
              <a:buNone/>
              <a:defRPr sz="1600" b="1"/>
            </a:lvl6pPr>
            <a:lvl7pPr marL="2743247" indent="0">
              <a:buNone/>
              <a:defRPr sz="1600" b="1"/>
            </a:lvl7pPr>
            <a:lvl8pPr marL="3200454" indent="0">
              <a:buNone/>
              <a:defRPr sz="1600" b="1"/>
            </a:lvl8pPr>
            <a:lvl9pPr marL="365766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6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1" indent="0">
              <a:buNone/>
              <a:defRPr sz="1600" b="1"/>
            </a:lvl5pPr>
            <a:lvl6pPr marL="2286039" indent="0">
              <a:buNone/>
              <a:defRPr sz="1600" b="1"/>
            </a:lvl6pPr>
            <a:lvl7pPr marL="2743247" indent="0">
              <a:buNone/>
              <a:defRPr sz="1600" b="1"/>
            </a:lvl7pPr>
            <a:lvl8pPr marL="3200454" indent="0">
              <a:buNone/>
              <a:defRPr sz="1600" b="1"/>
            </a:lvl8pPr>
            <a:lvl9pPr marL="365766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4397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10E35-01DA-4A79-BF73-E69FF6C59F9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618511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39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21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9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6" indent="0">
              <a:buNone/>
              <a:defRPr sz="1000"/>
            </a:lvl3pPr>
            <a:lvl4pPr marL="1371623" indent="0">
              <a:buNone/>
              <a:defRPr sz="900"/>
            </a:lvl4pPr>
            <a:lvl5pPr marL="1828831" indent="0">
              <a:buNone/>
              <a:defRPr sz="900"/>
            </a:lvl5pPr>
            <a:lvl6pPr marL="2286039" indent="0">
              <a:buNone/>
              <a:defRPr sz="900"/>
            </a:lvl6pPr>
            <a:lvl7pPr marL="2743247" indent="0">
              <a:buNone/>
              <a:defRPr sz="900"/>
            </a:lvl7pPr>
            <a:lvl8pPr marL="3200454" indent="0">
              <a:buNone/>
              <a:defRPr sz="900"/>
            </a:lvl8pPr>
            <a:lvl9pPr marL="36576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771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8" indent="0">
              <a:buNone/>
              <a:defRPr sz="2800"/>
            </a:lvl2pPr>
            <a:lvl3pPr marL="914416" indent="0">
              <a:buNone/>
              <a:defRPr sz="2400"/>
            </a:lvl3pPr>
            <a:lvl4pPr marL="1371623" indent="0">
              <a:buNone/>
              <a:defRPr sz="2000"/>
            </a:lvl4pPr>
            <a:lvl5pPr marL="1828831" indent="0">
              <a:buNone/>
              <a:defRPr sz="2000"/>
            </a:lvl5pPr>
            <a:lvl6pPr marL="2286039" indent="0">
              <a:buNone/>
              <a:defRPr sz="2000"/>
            </a:lvl6pPr>
            <a:lvl7pPr marL="2743247" indent="0">
              <a:buNone/>
              <a:defRPr sz="2000"/>
            </a:lvl7pPr>
            <a:lvl8pPr marL="3200454" indent="0">
              <a:buNone/>
              <a:defRPr sz="2000"/>
            </a:lvl8pPr>
            <a:lvl9pPr marL="365766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6" indent="0">
              <a:buNone/>
              <a:defRPr sz="1000"/>
            </a:lvl3pPr>
            <a:lvl4pPr marL="1371623" indent="0">
              <a:buNone/>
              <a:defRPr sz="900"/>
            </a:lvl4pPr>
            <a:lvl5pPr marL="1828831" indent="0">
              <a:buNone/>
              <a:defRPr sz="900"/>
            </a:lvl5pPr>
            <a:lvl6pPr marL="2286039" indent="0">
              <a:buNone/>
              <a:defRPr sz="900"/>
            </a:lvl6pPr>
            <a:lvl7pPr marL="2743247" indent="0">
              <a:buNone/>
              <a:defRPr sz="900"/>
            </a:lvl7pPr>
            <a:lvl8pPr marL="3200454" indent="0">
              <a:buNone/>
              <a:defRPr sz="900"/>
            </a:lvl8pPr>
            <a:lvl9pPr marL="36576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732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vmlDrawing" Target="../drawings/vmlDrawing8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vmlDrawing" Target="../drawings/vmlDrawing9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30.xml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5.xml"/><Relationship Id="rId14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6.xml"/><Relationship Id="rId9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41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2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2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25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8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EB5E6B-24CB-544B-9C2B-437AFADA12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56FDF-A233-5344-AEE1-A24EF0116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581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790" r:id="rId12"/>
  </p:sldLayoutIdLst>
  <p:txStyles>
    <p:titleStyle>
      <a:lvl1pPr algn="ctr" defTabSz="45720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6" indent="-342906" algn="l" defTabSz="45720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3" indent="-285755" algn="l" defTabSz="457208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9" indent="-228603" algn="l" defTabSz="45720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8" indent="-228603" algn="l" defTabSz="45720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35" indent="-228603" algn="l" defTabSz="45720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42" indent="-228603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0" indent="-228603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8" indent="-228603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7" indent="-228603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6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1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9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7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4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2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72544126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de think-cell" r:id="rId14" imgW="360" imgH="360" progId="TCLayout.ActiveDocument.1">
                  <p:embed/>
                </p:oleObj>
              </mc:Choice>
              <mc:Fallback>
                <p:oleObj name="Diapositiva de think-cell" r:id="rId14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0" y="6566446"/>
            <a:ext cx="12192000" cy="291554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168" tIns="46091" rIns="92168" bIns="46091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dirty="0">
                <a:solidFill>
                  <a:srgbClr val="FFFFFF"/>
                </a:solidFill>
                <a:latin typeface="Calibri" panose="020F0502020204030204" pitchFamily="34" charset="0"/>
              </a:rPr>
              <a:t>Elaborado por Logística Corporativa</a:t>
            </a: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fld id="{7ED418F5-4791-4B18-A7E7-B523FDD38919}" type="slidenum">
              <a:rPr lang="en-US" smtClean="0"/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726447" y="6612603"/>
            <a:ext cx="400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42" y="234892"/>
            <a:ext cx="11725484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4" y="27537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6" y="6291086"/>
            <a:ext cx="11630453" cy="495641"/>
            <a:chOff x="75" y="3884"/>
            <a:chExt cx="5385" cy="306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619" indent="-105619" defTabSz="9025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dirty="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4506" indent="-614506" defTabSz="902550" fontAlgn="base">
                <a:spcBef>
                  <a:spcPct val="0"/>
                </a:spcBef>
                <a:spcAft>
                  <a:spcPct val="0"/>
                </a:spcAft>
                <a:tabLst>
                  <a:tab pos="617702" algn="l"/>
                </a:tabLs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50019"/>
            <a:ext cx="5801189" cy="518318"/>
            <a:chOff x="915" y="710"/>
            <a:chExt cx="2686" cy="320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47190" y="2731004"/>
            <a:ext cx="189955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23/08/2012 02:57:44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23896" y="4388003"/>
            <a:ext cx="114614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21/08/2012 09:41:31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3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2346818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10" r:id="rId3"/>
    <p:sldLayoutId id="2147483788" r:id="rId4"/>
    <p:sldLayoutId id="2147483789" r:id="rId5"/>
    <p:sldLayoutId id="2147483791" r:id="rId6"/>
    <p:sldLayoutId id="2147483792" r:id="rId7"/>
    <p:sldLayoutId id="2147483793" r:id="rId8"/>
    <p:sldLayoutId id="2147483794" r:id="rId9"/>
  </p:sldLayoutIdLst>
  <p:hf hdr="0" ftr="0" dt="0"/>
  <p:txStyles>
    <p:titleStyle>
      <a:lvl1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0834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2174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82632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4350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658" indent="-34565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34" indent="-193636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0834" indent="-26404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9306" indent="-156833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2128" indent="-131222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009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3883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4767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5645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3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4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32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0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38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266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14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021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44950295"/>
              </p:ext>
            </p:extLst>
          </p:nvPr>
        </p:nvGraphicFramePr>
        <p:xfrm>
          <a:off x="2" y="3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Diapositiva de think-cell" r:id="rId7" imgW="360" imgH="360" progId="TCLayout.ActiveDocument.1">
                  <p:embed/>
                </p:oleObj>
              </mc:Choice>
              <mc:Fallback>
                <p:oleObj name="Diapositiva de think-cell" r:id="rId7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1" y="6566449"/>
            <a:ext cx="12192000" cy="291555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168" tIns="46091" rIns="92168" bIns="46091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800">
              <a:solidFill>
                <a:srgbClr val="000000"/>
              </a:solidFill>
            </a:endParaRP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4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fld id="{7ED418F5-4791-4B18-A7E7-B523FDD38919}" type="slidenum">
              <a:rPr lang="en-US" smtClean="0"/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726446" y="6612604"/>
            <a:ext cx="400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44" y="234890"/>
            <a:ext cx="1172548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4" y="27537"/>
            <a:ext cx="8593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6" y="6292724"/>
            <a:ext cx="11630453" cy="492403"/>
            <a:chOff x="75" y="3885"/>
            <a:chExt cx="5385" cy="304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5"/>
              <a:ext cx="5385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619" indent="-105619" defTabSz="9025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4506" indent="-614506" defTabSz="902550" fontAlgn="base">
                <a:spcBef>
                  <a:spcPct val="0"/>
                </a:spcBef>
                <a:spcAft>
                  <a:spcPct val="0"/>
                </a:spcAft>
                <a:tabLst>
                  <a:tab pos="617702" algn="l"/>
                </a:tabLst>
                <a:defRPr/>
              </a:pPr>
              <a:r>
                <a:rPr lang="en-US" sz="90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58119"/>
            <a:ext cx="5801189" cy="510220"/>
            <a:chOff x="915" y="715"/>
            <a:chExt cx="2686" cy="315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47194" y="2731002"/>
            <a:ext cx="1899559" cy="9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23/08/2012 02:57:44 p.m.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23897" y="4388001"/>
            <a:ext cx="1146148" cy="9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21/08/2012 09:41:31 p.m.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373481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</p:sldLayoutIdLst>
  <p:hf hdr="0" ftr="0" dt="0"/>
  <p:txStyles>
    <p:titleStyle>
      <a:lvl1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0834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2174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82632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4350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658" indent="-34565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34" indent="-193636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0834" indent="-26404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9306" indent="-156833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2128" indent="-131222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009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3883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4767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5645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3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4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32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0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38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266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14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021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685279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Diapositiva de think-cell" r:id="rId7" imgW="360" imgH="360" progId="TCLayout.ActiveDocument.1">
                  <p:embed/>
                </p:oleObj>
              </mc:Choice>
              <mc:Fallback>
                <p:oleObj name="Diapositiva de think-cell" r:id="rId7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0" y="6566446"/>
            <a:ext cx="12192000" cy="291554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168" tIns="46091" rIns="92168" bIns="46091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800" dirty="0">
              <a:solidFill>
                <a:srgbClr val="000000"/>
              </a:solidFill>
            </a:endParaRP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fld id="{7ED418F5-4791-4B18-A7E7-B523FDD38919}" type="slidenum">
              <a:rPr lang="en-US" smtClean="0"/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726448" y="6612603"/>
            <a:ext cx="400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42" y="234891"/>
            <a:ext cx="11725484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4" y="27537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4973989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6" y="6291085"/>
            <a:ext cx="11630453" cy="495641"/>
            <a:chOff x="75" y="3884"/>
            <a:chExt cx="5385" cy="306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619" indent="-105619" defTabSz="9025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dirty="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4506" indent="-614506" defTabSz="902550" fontAlgn="base">
                <a:spcBef>
                  <a:spcPct val="0"/>
                </a:spcBef>
                <a:spcAft>
                  <a:spcPct val="0"/>
                </a:spcAft>
                <a:tabLst>
                  <a:tab pos="617702" algn="l"/>
                </a:tabLs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50019"/>
            <a:ext cx="5801189" cy="518318"/>
            <a:chOff x="915" y="710"/>
            <a:chExt cx="2686" cy="320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47189" y="2731003"/>
            <a:ext cx="189955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23/08/2012 02:57:44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23895" y="4388002"/>
            <a:ext cx="114614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21/08/2012 09:41:31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1535917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</p:sldLayoutIdLst>
  <p:hf hdr="0" ftr="0" dt="0"/>
  <p:txStyles>
    <p:titleStyle>
      <a:lvl1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0834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2174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82632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4350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658" indent="-34565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34" indent="-193636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0834" indent="-26404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9306" indent="-156833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2128" indent="-131222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009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3883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4767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5645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3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4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32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0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38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266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14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021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Diapositiva de think-cell" r:id="rId13" imgW="360" imgH="360" progId="TCLayout.ActiveDocument.1">
                  <p:embed/>
                </p:oleObj>
              </mc:Choice>
              <mc:Fallback>
                <p:oleObj name="Diapositiva de think-cell" r:id="rId13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0" y="6566446"/>
            <a:ext cx="12192000" cy="291554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248" tIns="46129" rIns="92248" bIns="46129"/>
          <a:lstStyle/>
          <a:p>
            <a:pPr defTabSz="914400">
              <a:defRPr/>
            </a:pPr>
            <a:endParaRPr lang="es-PE" sz="816">
              <a:solidFill>
                <a:srgbClr val="000000"/>
              </a:solidFill>
            </a:endParaRP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2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400"/>
            <a:fld id="{CB310E35-01DA-4A79-BF73-E69FF6C59F90}" type="slidenum">
              <a:rPr lang="es-PE" smtClean="0"/>
              <a:pPr defTabSz="914400"/>
              <a:t>‹Nº›</a:t>
            </a:fld>
            <a:endParaRPr lang="es-PE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726447" y="6610744"/>
            <a:ext cx="40075" cy="188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3316">
              <a:defRPr/>
            </a:pPr>
            <a:r>
              <a:rPr lang="en-US" sz="1224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29" y="234890"/>
            <a:ext cx="11725485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3316">
              <a:defRPr/>
            </a:pPr>
            <a:r>
              <a:rPr lang="en-US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5" y="6287838"/>
            <a:ext cx="11630454" cy="500500"/>
            <a:chOff x="75" y="3882"/>
            <a:chExt cx="5385" cy="309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2"/>
              <a:ext cx="5385" cy="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709" indent="-105709" defTabSz="903316">
                <a:defRPr/>
              </a:pPr>
              <a:r>
                <a:rPr lang="en-US" sz="918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2"/>
              <a:ext cx="4323" cy="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5028" indent="-615028" defTabSz="903316">
                <a:tabLst>
                  <a:tab pos="618227" algn="l"/>
                </a:tabLst>
                <a:defRPr/>
              </a:pPr>
              <a:r>
                <a:rPr lang="en-US" sz="918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37061"/>
            <a:ext cx="5801189" cy="531276"/>
            <a:chOff x="915" y="702"/>
            <a:chExt cx="2686" cy="328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400">
                <a:defRPr/>
              </a:pPr>
              <a:r>
                <a:rPr lang="en-US" sz="1632">
                  <a:solidFill>
                    <a:srgbClr val="000000"/>
                  </a:solidFill>
                </a:rPr>
                <a:t>Title</a:t>
              </a:r>
            </a:p>
            <a:p>
              <a:pPr defTabSz="914400">
                <a:defRPr/>
              </a:pPr>
              <a:r>
                <a:rPr lang="en-US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31161" y="2730065"/>
            <a:ext cx="1931619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612">
                <a:solidFill>
                  <a:srgbClr val="000000"/>
                </a:solidFill>
              </a:rPr>
              <a:t>Working Draft - Last Modified 23/08/2012 02:57:44 p.m.</a:t>
            </a:r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14277" y="4387064"/>
            <a:ext cx="1165384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612">
                <a:solidFill>
                  <a:srgbClr val="000000"/>
                </a:solidFill>
              </a:rPr>
              <a:t>Printed 21/08/2012 09:41:31 p.m.</a:t>
            </a:r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3316">
              <a:defRPr/>
            </a:pPr>
            <a:r>
              <a:rPr lang="en-US" sz="816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1763274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3" r:id="rId8"/>
  </p:sldLayoutIdLst>
  <p:txStyles>
    <p:titleStyle>
      <a:lvl1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1226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6pPr>
      <a:lvl7pPr marL="922532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7pPr>
      <a:lvl8pPr marL="1383804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8pPr>
      <a:lvl9pPr marL="1845073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952" indent="-345952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5400" indent="-193801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32">
          <a:solidFill>
            <a:schemeClr val="tx1"/>
          </a:solidFill>
          <a:latin typeface="+mn-lt"/>
          <a:cs typeface="+mn-cs"/>
        </a:defRPr>
      </a:lvl2pPr>
      <a:lvl3pPr marL="461226" indent="-264271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32">
          <a:solidFill>
            <a:schemeClr val="tx1"/>
          </a:solidFill>
          <a:latin typeface="+mn-lt"/>
          <a:cs typeface="+mn-cs"/>
        </a:defRPr>
      </a:lvl3pPr>
      <a:lvl4pPr marL="619831" indent="-156966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32">
          <a:solidFill>
            <a:schemeClr val="tx1"/>
          </a:solidFill>
          <a:latin typeface="+mn-lt"/>
          <a:cs typeface="+mn-cs"/>
        </a:defRPr>
      </a:lvl4pPr>
      <a:lvl5pPr marL="752766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  <a:cs typeface="+mn-cs"/>
        </a:defRPr>
      </a:lvl5pPr>
      <a:lvl6pPr marL="1214038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6pPr>
      <a:lvl7pPr marL="1675304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7pPr>
      <a:lvl8pPr marL="2136576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8pPr>
      <a:lvl9pPr marL="2597845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1226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2532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83804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45073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06343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67612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28881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690150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3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Diapositiva de think-cell" r:id="rId8" imgW="360" imgH="360" progId="TCLayout.ActiveDocument.1">
                  <p:embed/>
                </p:oleObj>
              </mc:Choice>
              <mc:Fallback>
                <p:oleObj name="Diapositiva de think-cell" r:id="rId8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1" y="6566449"/>
            <a:ext cx="12192000" cy="291555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168" tIns="46091" rIns="92168" bIns="46091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800">
              <a:solidFill>
                <a:srgbClr val="000000"/>
              </a:solidFill>
            </a:endParaRP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4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fld id="{7ED418F5-4791-4B18-A7E7-B523FDD38919}" type="slidenum">
              <a:rPr lang="en-US" smtClean="0"/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726446" y="6612604"/>
            <a:ext cx="400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44" y="234890"/>
            <a:ext cx="1172548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4" y="27537"/>
            <a:ext cx="85932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6" y="6292724"/>
            <a:ext cx="11630453" cy="492403"/>
            <a:chOff x="75" y="3885"/>
            <a:chExt cx="5385" cy="304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5"/>
              <a:ext cx="5385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619" indent="-105619" defTabSz="9025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4506" indent="-614506" defTabSz="902550" fontAlgn="base">
                <a:spcBef>
                  <a:spcPct val="0"/>
                </a:spcBef>
                <a:spcAft>
                  <a:spcPct val="0"/>
                </a:spcAft>
                <a:tabLst>
                  <a:tab pos="617702" algn="l"/>
                </a:tabLst>
                <a:defRPr/>
              </a:pPr>
              <a:r>
                <a:rPr lang="en-US" sz="90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58119"/>
            <a:ext cx="5801189" cy="510220"/>
            <a:chOff x="915" y="715"/>
            <a:chExt cx="2686" cy="315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47194" y="2731002"/>
            <a:ext cx="1899559" cy="9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23/08/2012 02:57:44 p.m.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23897" y="4388001"/>
            <a:ext cx="1146148" cy="9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21/08/2012 09:41:31 p.m.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215276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hf hdr="0" ftr="0" dt="0"/>
  <p:txStyles>
    <p:titleStyle>
      <a:lvl1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0834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2174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82632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4350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658" indent="-34565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34" indent="-193636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0834" indent="-26404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9306" indent="-156833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2128" indent="-131222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009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3883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4767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5645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3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4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32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0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38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266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14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021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Diapositiva de think-cell" r:id="rId11" imgW="360" imgH="360" progId="TCLayout.ActiveDocument.1">
                  <p:embed/>
                </p:oleObj>
              </mc:Choice>
              <mc:Fallback>
                <p:oleObj name="Diapositiva de think-cell" r:id="rId11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0" y="6566446"/>
            <a:ext cx="12192000" cy="291554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168" tIns="46091" rIns="92168" bIns="46091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dirty="0">
                <a:solidFill>
                  <a:srgbClr val="FFFFFF"/>
                </a:solidFill>
                <a:latin typeface="Calibri" panose="020F0502020204030204" pitchFamily="34" charset="0"/>
              </a:rPr>
              <a:t>Elaborado por Logística Corporativa</a:t>
            </a: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fld id="{7ED418F5-4791-4B18-A7E7-B523FDD38919}" type="slidenum">
              <a:rPr lang="en-US" smtClean="0"/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726447" y="6612603"/>
            <a:ext cx="400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42" y="234892"/>
            <a:ext cx="11725484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4" y="27537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6" y="6291086"/>
            <a:ext cx="11630453" cy="495641"/>
            <a:chOff x="75" y="3884"/>
            <a:chExt cx="5385" cy="306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4"/>
              <a:ext cx="5385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619" indent="-105619" defTabSz="9025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dirty="0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3"/>
              <a:ext cx="432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4506" indent="-614506" defTabSz="902550" fontAlgn="base">
                <a:spcBef>
                  <a:spcPct val="0"/>
                </a:spcBef>
                <a:spcAft>
                  <a:spcPct val="0"/>
                </a:spcAft>
                <a:tabLst>
                  <a:tab pos="617702" algn="l"/>
                </a:tabLs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50019"/>
            <a:ext cx="5801189" cy="518318"/>
            <a:chOff x="915" y="710"/>
            <a:chExt cx="2686" cy="320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47190" y="2731004"/>
            <a:ext cx="189955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23/08/2012 02:57:44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23896" y="4388003"/>
            <a:ext cx="114614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21/08/2012 09:41:31 p.m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3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25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3261346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</p:sldLayoutIdLst>
  <p:hf hdr="0" ftr="0" dt="0"/>
  <p:txStyles>
    <p:titleStyle>
      <a:lvl1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025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0834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2174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82632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43508" algn="l" defTabSz="9025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658" indent="-34565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34" indent="-193636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0834" indent="-264048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9306" indent="-156833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2128" indent="-131222" algn="l" defTabSz="9025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009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3883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4767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5645" indent="-131222" algn="l" defTabSz="9025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3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4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32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0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388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266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144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021" algn="l" defTabSz="9217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Diapositiva de think-cell" r:id="rId13" imgW="360" imgH="360" progId="TCLayout.ActiveDocument.1">
                  <p:embed/>
                </p:oleObj>
              </mc:Choice>
              <mc:Fallback>
                <p:oleObj name="Diapositiva de think-cell" r:id="rId13" imgW="360" imgH="360" progId="TCLayout.ActiveDocument.1">
                  <p:embed/>
                  <p:pic>
                    <p:nvPicPr>
                      <p:cNvPr id="1026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96"/>
          <p:cNvSpPr>
            <a:spLocks noChangeArrowheads="1"/>
          </p:cNvSpPr>
          <p:nvPr/>
        </p:nvSpPr>
        <p:spPr bwMode="auto">
          <a:xfrm>
            <a:off x="0" y="6566446"/>
            <a:ext cx="12192000" cy="291554"/>
          </a:xfrm>
          <a:prstGeom prst="rect">
            <a:avLst/>
          </a:prstGeom>
          <a:solidFill>
            <a:srgbClr val="5B8EC5"/>
          </a:solidFill>
          <a:ln w="9525" algn="ctr">
            <a:noFill/>
            <a:miter lim="800000"/>
            <a:headEnd/>
            <a:tailEnd/>
          </a:ln>
        </p:spPr>
        <p:txBody>
          <a:bodyPr lIns="92248" tIns="46129" rIns="92248" bIns="46129"/>
          <a:lstStyle/>
          <a:p>
            <a:pPr defTabSz="914400">
              <a:defRPr/>
            </a:pPr>
            <a:endParaRPr lang="es-PE" sz="816">
              <a:solidFill>
                <a:srgbClr val="000000"/>
              </a:solidFill>
            </a:endParaRPr>
          </a:p>
        </p:txBody>
      </p:sp>
      <p:sp>
        <p:nvSpPr>
          <p:cNvPr id="1321" name="Rectangle 29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33475" y="6644193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20" b="0" i="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914400"/>
            <a:fld id="{CB310E35-01DA-4A79-BF73-E69FF6C59F90}" type="slidenum">
              <a:rPr lang="es-PE" smtClean="0"/>
              <a:pPr defTabSz="914400"/>
              <a:t>‹Nº›</a:t>
            </a:fld>
            <a:endParaRPr lang="es-PE"/>
          </a:p>
        </p:txBody>
      </p:sp>
      <p:sp>
        <p:nvSpPr>
          <p:cNvPr id="1030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726447" y="6610744"/>
            <a:ext cx="40075" cy="188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03316">
              <a:defRPr/>
            </a:pPr>
            <a:r>
              <a:rPr lang="en-US" sz="1224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129" y="234890"/>
            <a:ext cx="11725485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03316">
              <a:defRPr/>
            </a:pPr>
            <a:r>
              <a:rPr lang="en-US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61985" y="6287838"/>
            <a:ext cx="11630454" cy="500500"/>
            <a:chOff x="75" y="3882"/>
            <a:chExt cx="5385" cy="309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82"/>
              <a:ext cx="5385" cy="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105709" indent="-105709" defTabSz="903316">
                <a:defRPr/>
              </a:pPr>
              <a:r>
                <a:rPr lang="en-US" sz="918">
                  <a:solidFill>
                    <a:srgbClr val="5B8EC5"/>
                  </a:solidFill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102"/>
              <a:ext cx="4323" cy="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615028" indent="-615028" defTabSz="903316">
                <a:tabLst>
                  <a:tab pos="618227" algn="l"/>
                </a:tabLst>
                <a:defRPr/>
              </a:pPr>
              <a:r>
                <a:rPr lang="en-US" sz="918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976220" y="1137061"/>
            <a:ext cx="5801189" cy="531276"/>
            <a:chOff x="915" y="702"/>
            <a:chExt cx="2686" cy="328"/>
          </a:xfrm>
        </p:grpSpPr>
        <p:cxnSp>
          <p:nvCxnSpPr>
            <p:cNvPr id="104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defTabSz="914400">
                <a:defRPr/>
              </a:pPr>
              <a:r>
                <a:rPr lang="en-US" sz="1632">
                  <a:solidFill>
                    <a:srgbClr val="000000"/>
                  </a:solidFill>
                </a:rPr>
                <a:t>Title</a:t>
              </a:r>
            </a:p>
            <a:p>
              <a:pPr defTabSz="914400">
                <a:defRPr/>
              </a:pPr>
              <a:r>
                <a:rPr lang="en-US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131161" y="2730065"/>
            <a:ext cx="1931619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612">
                <a:solidFill>
                  <a:srgbClr val="000000"/>
                </a:solidFill>
              </a:rPr>
              <a:t>Working Draft - Last Modified 23/08/2012 02:57:44 p.m.</a:t>
            </a:r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1038" name="Printed" hidden="1"/>
          <p:cNvSpPr txBox="1">
            <a:spLocks noChangeArrowheads="1"/>
          </p:cNvSpPr>
          <p:nvPr/>
        </p:nvSpPr>
        <p:spPr bwMode="auto">
          <a:xfrm rot="5400000">
            <a:off x="11514277" y="4387064"/>
            <a:ext cx="1165384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defRPr/>
            </a:pPr>
            <a:r>
              <a:rPr lang="en-US" sz="612">
                <a:solidFill>
                  <a:srgbClr val="000000"/>
                </a:solidFill>
              </a:rPr>
              <a:t>Printed 21/08/2012 09:41:31 p.m.</a:t>
            </a:r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103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oc id" hidden="1"/>
          <p:cNvSpPr>
            <a:spLocks noChangeArrowheads="1"/>
          </p:cNvSpPr>
          <p:nvPr/>
        </p:nvSpPr>
        <p:spPr bwMode="auto">
          <a:xfrm>
            <a:off x="10995488" y="37255"/>
            <a:ext cx="894152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903316">
              <a:defRPr/>
            </a:pPr>
            <a:r>
              <a:rPr lang="en-US" sz="816">
                <a:solidFill>
                  <a:srgbClr val="000000"/>
                </a:solidFill>
              </a:rPr>
              <a:t>BOG-GGL012-01-01</a:t>
            </a:r>
          </a:p>
        </p:txBody>
      </p:sp>
    </p:spTree>
    <p:extLst>
      <p:ext uri="{BB962C8B-B14F-4D97-AF65-F5344CB8AC3E}">
        <p14:creationId xmlns:p14="http://schemas.microsoft.com/office/powerpoint/2010/main" val="180091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7" r:id="rId8"/>
  </p:sldLayoutIdLst>
  <p:txStyles>
    <p:titleStyle>
      <a:lvl1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1226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6pPr>
      <a:lvl7pPr marL="922532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7pPr>
      <a:lvl8pPr marL="1383804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8pPr>
      <a:lvl9pPr marL="1845073" algn="l" defTabSz="9033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5952" indent="-345952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5400" indent="-193801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32">
          <a:solidFill>
            <a:schemeClr val="tx1"/>
          </a:solidFill>
          <a:latin typeface="+mn-lt"/>
          <a:cs typeface="+mn-cs"/>
        </a:defRPr>
      </a:lvl2pPr>
      <a:lvl3pPr marL="461226" indent="-264271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32">
          <a:solidFill>
            <a:schemeClr val="tx1"/>
          </a:solidFill>
          <a:latin typeface="+mn-lt"/>
          <a:cs typeface="+mn-cs"/>
        </a:defRPr>
      </a:lvl3pPr>
      <a:lvl4pPr marL="619831" indent="-156966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32">
          <a:solidFill>
            <a:schemeClr val="tx1"/>
          </a:solidFill>
          <a:latin typeface="+mn-lt"/>
          <a:cs typeface="+mn-cs"/>
        </a:defRPr>
      </a:lvl4pPr>
      <a:lvl5pPr marL="752766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  <a:cs typeface="+mn-cs"/>
        </a:defRPr>
      </a:lvl5pPr>
      <a:lvl6pPr marL="1214038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6pPr>
      <a:lvl7pPr marL="1675304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7pPr>
      <a:lvl8pPr marL="2136576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8pPr>
      <a:lvl9pPr marL="2597845" indent="-131334" algn="l" defTabSz="9033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PE"/>
      </a:defPPr>
      <a:lvl1pPr marL="0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1226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2532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83804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45073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06343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67612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28881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690150" algn="l" defTabSz="92253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hyperlink" Target="http://grupogloria.supplier.ariba.com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1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uex.ariba.com/auc/node/81137" TargetMode="External"/><Relationship Id="rId3" Type="http://schemas.openxmlformats.org/officeDocument/2006/relationships/hyperlink" Target="https://uex.ariba.com/auc/node/100349" TargetMode="External"/><Relationship Id="rId7" Type="http://schemas.openxmlformats.org/officeDocument/2006/relationships/hyperlink" Target="https://uex.ariba.com/auc/node/100354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uex.ariba.com/auc/node/100353" TargetMode="External"/><Relationship Id="rId5" Type="http://schemas.openxmlformats.org/officeDocument/2006/relationships/hyperlink" Target="https://uex.ariba.com/auc/node/100352" TargetMode="External"/><Relationship Id="rId4" Type="http://schemas.openxmlformats.org/officeDocument/2006/relationships/hyperlink" Target="https://uex.ariba.com/auc/node/100351" TargetMode="External"/><Relationship Id="rId9" Type="http://schemas.openxmlformats.org/officeDocument/2006/relationships/image" Target="../media/image10.png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Relationship Id="rId9" Type="http://schemas.openxmlformats.org/officeDocument/2006/relationships/image" Target="../media/image10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10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openxmlformats.org/officeDocument/2006/relationships/hyperlink" Target="http://videoscomunicacion.tentu.com/Gloria_2D_FINAL_de_finales_v2.mp4" TargetMode="External"/><Relationship Id="rId4" Type="http://schemas.openxmlformats.org/officeDocument/2006/relationships/diagramData" Target="../diagrams/data2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ctrTitle"/>
          </p:nvPr>
        </p:nvSpPr>
        <p:spPr>
          <a:xfrm>
            <a:off x="3034676" y="2500714"/>
            <a:ext cx="9142810" cy="2339102"/>
          </a:xfrm>
        </p:spPr>
        <p:txBody>
          <a:bodyPr/>
          <a:lstStyle/>
          <a:p>
            <a:pPr algn="ctr"/>
            <a:r>
              <a:rPr lang="es-PE" sz="4000" dirty="0">
                <a:solidFill>
                  <a:srgbClr val="002060"/>
                </a:solidFill>
              </a:rPr>
              <a:t>Capacitación a Proveedores</a:t>
            </a:r>
            <a:br>
              <a:rPr lang="es-PE" sz="4000" dirty="0">
                <a:solidFill>
                  <a:srgbClr val="002060"/>
                </a:solidFill>
              </a:rPr>
            </a:br>
            <a:r>
              <a:rPr lang="es-PE" sz="4000" dirty="0">
                <a:solidFill>
                  <a:srgbClr val="002060"/>
                </a:solidFill>
              </a:rPr>
              <a:t/>
            </a:r>
            <a:br>
              <a:rPr lang="es-PE" sz="4000" dirty="0">
                <a:solidFill>
                  <a:srgbClr val="002060"/>
                </a:solidFill>
              </a:rPr>
            </a:br>
            <a:r>
              <a:rPr lang="es-PE" sz="4000" dirty="0">
                <a:solidFill>
                  <a:srgbClr val="002060"/>
                </a:solidFill>
              </a:rPr>
              <a:t/>
            </a:r>
            <a:br>
              <a:rPr lang="es-PE" sz="4000" dirty="0">
                <a:solidFill>
                  <a:srgbClr val="002060"/>
                </a:solidFill>
              </a:rPr>
            </a:br>
            <a:endParaRPr lang="es-PE" sz="3200" dirty="0">
              <a:solidFill>
                <a:srgbClr val="002060"/>
              </a:solidFill>
            </a:endParaRPr>
          </a:p>
        </p:txBody>
      </p:sp>
      <p:pic>
        <p:nvPicPr>
          <p:cNvPr id="5" name="Imagen 4" descr="Resultado de imagen para logo gloria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081" y="489831"/>
            <a:ext cx="2340000" cy="16469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3798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7285C-4B92-E745-AFE5-F92EB0EAB47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4272" t="347" r="3333" b="6090"/>
          <a:stretch/>
        </p:blipFill>
        <p:spPr>
          <a:xfrm>
            <a:off x="546100" y="702430"/>
            <a:ext cx="10261600" cy="5842286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 bwMode="auto">
          <a:xfrm>
            <a:off x="9202057" y="5905500"/>
            <a:ext cx="1491343" cy="50618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638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ompleta información de usuari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5116" t="8482" b="14530"/>
          <a:stretch/>
        </p:blipFill>
        <p:spPr>
          <a:xfrm>
            <a:off x="203632" y="739260"/>
            <a:ext cx="11684000" cy="5705083"/>
          </a:xfrm>
          <a:prstGeom prst="rect">
            <a:avLst/>
          </a:prstGeom>
        </p:spPr>
      </p:pic>
      <p:sp>
        <p:nvSpPr>
          <p:cNvPr id="5" name="Llamada rectangular redondeada 4"/>
          <p:cNvSpPr/>
          <p:nvPr/>
        </p:nvSpPr>
        <p:spPr bwMode="auto">
          <a:xfrm>
            <a:off x="6024890" y="527283"/>
            <a:ext cx="4309269" cy="2011794"/>
          </a:xfrm>
          <a:prstGeom prst="wedgeRoundRectCallout">
            <a:avLst>
              <a:gd name="adj1" fmla="val -58066"/>
              <a:gd name="adj2" fmla="val 37049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Complete la información de tu Usuario considerando: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PE" sz="16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u nombre de usuario</a:t>
            </a:r>
            <a:r>
              <a:rPr kumimoji="0" lang="es-PE" sz="160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es tu correo electrónico al que llegó la invitación, no introducir otras cuentas.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PE" sz="1600" baseline="0" dirty="0">
                <a:latin typeface="Arial" charset="0"/>
              </a:rPr>
              <a:t>Lee</a:t>
            </a:r>
            <a:r>
              <a:rPr lang="es-PE" sz="1600" dirty="0">
                <a:latin typeface="Arial" charset="0"/>
              </a:rPr>
              <a:t> cuidadosamente las reglas para generar contraseña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ángulo 5"/>
          <p:cNvSpPr/>
          <p:nvPr/>
        </p:nvSpPr>
        <p:spPr bwMode="auto">
          <a:xfrm>
            <a:off x="162147" y="752851"/>
            <a:ext cx="5338767" cy="5067378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5643999" y="2731107"/>
            <a:ext cx="1119658" cy="3713236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9" name="Conector angular 8"/>
          <p:cNvCxnSpPr>
            <a:stCxn id="7" idx="3"/>
          </p:cNvCxnSpPr>
          <p:nvPr/>
        </p:nvCxnSpPr>
        <p:spPr bwMode="auto">
          <a:xfrm flipV="1">
            <a:off x="6763657" y="2539077"/>
            <a:ext cx="435429" cy="2048648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0909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3582" t="10535" r="3793" b="6089"/>
          <a:stretch/>
        </p:blipFill>
        <p:spPr>
          <a:xfrm>
            <a:off x="140507" y="0"/>
            <a:ext cx="12051493" cy="6486698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365348" y="3657600"/>
            <a:ext cx="4235682" cy="783772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4911814" y="3657600"/>
            <a:ext cx="2745486" cy="899886"/>
          </a:xfrm>
          <a:prstGeom prst="wedgeRoundRectCallout">
            <a:avLst>
              <a:gd name="adj1" fmla="val -59015"/>
              <a:gd name="adj2" fmla="val -15298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1. Luego de haber leído y si  está de acuerdo, acepte las 2 condiciones.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9724571" y="4441372"/>
            <a:ext cx="1110344" cy="59508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Llamada rectangular redondeada 8"/>
          <p:cNvSpPr/>
          <p:nvPr/>
        </p:nvSpPr>
        <p:spPr bwMode="auto">
          <a:xfrm>
            <a:off x="7939314" y="4961513"/>
            <a:ext cx="1505976" cy="423288"/>
          </a:xfrm>
          <a:prstGeom prst="wedgeRoundRectCallout">
            <a:avLst>
              <a:gd name="adj1" fmla="val 58144"/>
              <a:gd name="adj2" fmla="val -46739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Haga clic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ítulo 1"/>
          <p:cNvSpPr txBox="1">
            <a:spLocks/>
          </p:cNvSpPr>
          <p:nvPr/>
        </p:nvSpPr>
        <p:spPr bwMode="auto">
          <a:xfrm>
            <a:off x="314548" y="387295"/>
            <a:ext cx="1172548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0772"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21623"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82444"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43258" algn="l" defTabSz="90242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s-PE" kern="0" dirty="0"/>
              <a:t>Lee las condiciones de Ariba Sourcing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7061200" y="578256"/>
            <a:ext cx="3218543" cy="822305"/>
          </a:xfrm>
          <a:prstGeom prst="wedgeEllipseCallout">
            <a:avLst>
              <a:gd name="adj1" fmla="val 42963"/>
              <a:gd name="adj2" fmla="val 54721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cuerda leer las condiciones de </a:t>
            </a:r>
            <a:r>
              <a:rPr lang="es-PE" sz="1600" b="1" dirty="0" err="1"/>
              <a:t>Ariba</a:t>
            </a:r>
            <a:endParaRPr lang="es-PE" sz="1600" b="1" dirty="0"/>
          </a:p>
        </p:txBody>
      </p:sp>
      <p:grpSp>
        <p:nvGrpSpPr>
          <p:cNvPr id="14" name="Grupo 13"/>
          <p:cNvGrpSpPr/>
          <p:nvPr/>
        </p:nvGrpSpPr>
        <p:grpSpPr>
          <a:xfrm>
            <a:off x="9773100" y="462126"/>
            <a:ext cx="2357232" cy="3892004"/>
            <a:chOff x="9773100" y="462126"/>
            <a:chExt cx="2357232" cy="3892004"/>
          </a:xfrm>
        </p:grpSpPr>
        <p:pic>
          <p:nvPicPr>
            <p:cNvPr id="12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3100" y="462126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10434945" y="1393361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34591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Pantalla de inici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t="8234" b="7704"/>
          <a:stretch/>
        </p:blipFill>
        <p:spPr>
          <a:xfrm>
            <a:off x="0" y="566058"/>
            <a:ext cx="12192000" cy="5762172"/>
          </a:xfrm>
          <a:prstGeom prst="rect">
            <a:avLst/>
          </a:prstGeom>
        </p:spPr>
      </p:pic>
      <p:sp>
        <p:nvSpPr>
          <p:cNvPr id="6" name="Llamada rectangular redondeada 5"/>
          <p:cNvSpPr/>
          <p:nvPr/>
        </p:nvSpPr>
        <p:spPr bwMode="auto">
          <a:xfrm>
            <a:off x="3808728" y="5109028"/>
            <a:ext cx="7265672" cy="1219201"/>
          </a:xfrm>
          <a:prstGeom prst="wedgeRoundRectCallout">
            <a:avLst>
              <a:gd name="adj1" fmla="val -54394"/>
              <a:gd name="adj2" fmla="val 51562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Guarda tu usuario y contraseña, puedes cerrar sesión.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Aún no tienes eventos asignados. Espera que un Comprador te invite a participar de un evento, la notificación llegará a tu correo electrónico. 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1659614" y="4911998"/>
            <a:ext cx="2357232" cy="3892004"/>
            <a:chOff x="1659614" y="4911998"/>
            <a:chExt cx="2357232" cy="3892004"/>
          </a:xfrm>
        </p:grpSpPr>
        <p:pic>
          <p:nvPicPr>
            <p:cNvPr id="7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9614" y="4911998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2321459" y="5824639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08700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etalles del evento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778970" y="1671355"/>
            <a:ext cx="5853025" cy="1247204"/>
          </a:xfrm>
        </p:spPr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935" r="2948" b="5451"/>
          <a:stretch/>
        </p:blipFill>
        <p:spPr>
          <a:xfrm>
            <a:off x="162148" y="710696"/>
            <a:ext cx="11832609" cy="5621452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204816" y="1598303"/>
            <a:ext cx="1959002" cy="473384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2730750" y="1988424"/>
            <a:ext cx="1596053" cy="776656"/>
          </a:xfrm>
          <a:prstGeom prst="borderCallout1">
            <a:avLst>
              <a:gd name="adj1" fmla="val 52864"/>
              <a:gd name="adj2" fmla="val -933"/>
              <a:gd name="adj3" fmla="val 51764"/>
              <a:gd name="adj4" fmla="val -33294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isar antes del Ev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talles del  Event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tenido del Evento</a:t>
            </a:r>
          </a:p>
        </p:txBody>
      </p:sp>
      <p:sp>
        <p:nvSpPr>
          <p:cNvPr id="7" name="Rectángulo 6"/>
          <p:cNvSpPr/>
          <p:nvPr/>
        </p:nvSpPr>
        <p:spPr>
          <a:xfrm>
            <a:off x="2232058" y="3616243"/>
            <a:ext cx="9648968" cy="271590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9971073" y="4310818"/>
            <a:ext cx="1596053" cy="776656"/>
          </a:xfrm>
          <a:prstGeom prst="borderCallout1">
            <a:avLst>
              <a:gd name="adj1" fmla="val 52864"/>
              <a:gd name="adj2" fmla="val -933"/>
              <a:gd name="adj3" fmla="val 51764"/>
              <a:gd name="adj4" fmla="val -33294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guntas del Evento</a:t>
            </a:r>
          </a:p>
        </p:txBody>
      </p:sp>
      <p:sp>
        <p:nvSpPr>
          <p:cNvPr id="9" name="Rectángulo 8"/>
          <p:cNvSpPr/>
          <p:nvPr/>
        </p:nvSpPr>
        <p:spPr>
          <a:xfrm>
            <a:off x="10161407" y="1482191"/>
            <a:ext cx="1765110" cy="6823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7926551" y="1435057"/>
            <a:ext cx="1596053" cy="776656"/>
          </a:xfrm>
          <a:prstGeom prst="borderCallout1">
            <a:avLst>
              <a:gd name="adj1" fmla="val 49350"/>
              <a:gd name="adj2" fmla="val 99968"/>
              <a:gd name="adj3" fmla="val 50006"/>
              <a:gd name="adj4" fmla="val 138580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ración del Evento 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162148" y="1248229"/>
            <a:ext cx="3225638" cy="23396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3947643" y="1131798"/>
            <a:ext cx="1596053" cy="476405"/>
          </a:xfrm>
          <a:prstGeom prst="borderCallout1">
            <a:avLst>
              <a:gd name="adj1" fmla="val 52864"/>
              <a:gd name="adj2" fmla="val -24"/>
              <a:gd name="adj3" fmla="val 51764"/>
              <a:gd name="adj4" fmla="val -33294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olver a Panel de Instrucción</a:t>
            </a:r>
          </a:p>
        </p:txBody>
      </p:sp>
      <p:sp>
        <p:nvSpPr>
          <p:cNvPr id="13" name="Llamada rectangular redondeada 12"/>
          <p:cNvSpPr/>
          <p:nvPr/>
        </p:nvSpPr>
        <p:spPr bwMode="auto">
          <a:xfrm>
            <a:off x="4090254" y="5428343"/>
            <a:ext cx="2412146" cy="656234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Reconoce los campos del evento.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1969571" y="4865122"/>
            <a:ext cx="2357232" cy="3892004"/>
            <a:chOff x="1969571" y="4865122"/>
            <a:chExt cx="2357232" cy="3892004"/>
          </a:xfrm>
        </p:grpSpPr>
        <p:pic>
          <p:nvPicPr>
            <p:cNvPr id="14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9571" y="4865122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2644386" y="5751991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46234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/>
          <a:srcRect t="8234" r="2024" b="6222"/>
          <a:stretch/>
        </p:blipFill>
        <p:spPr>
          <a:xfrm>
            <a:off x="108857" y="675675"/>
            <a:ext cx="11945257" cy="5863772"/>
          </a:xfrm>
          <a:prstGeom prst="rect">
            <a:avLst/>
          </a:prstGeom>
        </p:spPr>
      </p:pic>
      <p:sp>
        <p:nvSpPr>
          <p:cNvPr id="13" name="Título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1. Revisar detalles del evento</a:t>
            </a:r>
          </a:p>
        </p:txBody>
      </p:sp>
      <p:sp>
        <p:nvSpPr>
          <p:cNvPr id="5" name="Rectángulo 4"/>
          <p:cNvSpPr/>
          <p:nvPr/>
        </p:nvSpPr>
        <p:spPr>
          <a:xfrm>
            <a:off x="108857" y="3194672"/>
            <a:ext cx="1765110" cy="5209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Llamada rectangular redondeada 6"/>
          <p:cNvSpPr/>
          <p:nvPr/>
        </p:nvSpPr>
        <p:spPr>
          <a:xfrm>
            <a:off x="1451428" y="2191657"/>
            <a:ext cx="2691182" cy="701459"/>
          </a:xfrm>
          <a:prstGeom prst="wedgeRoundRectCallout">
            <a:avLst>
              <a:gd name="adj1" fmla="val -38293"/>
              <a:gd name="adj2" fmla="val 73311"/>
              <a:gd name="adj3" fmla="val 16667"/>
            </a:avLst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1600" dirty="0"/>
              <a:t>1. Describe los detalles y contenidos del evento. </a:t>
            </a:r>
          </a:p>
        </p:txBody>
      </p:sp>
      <p:sp>
        <p:nvSpPr>
          <p:cNvPr id="15" name="Llamada rectangular redondeada 14"/>
          <p:cNvSpPr/>
          <p:nvPr/>
        </p:nvSpPr>
        <p:spPr bwMode="auto">
          <a:xfrm>
            <a:off x="6804425" y="4441370"/>
            <a:ext cx="2412146" cy="1161143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En este punto solo se visualiza, no hay opción para responder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640200" y="4741837"/>
            <a:ext cx="2357232" cy="3892004"/>
            <a:chOff x="4640200" y="4741837"/>
            <a:chExt cx="2357232" cy="3892004"/>
          </a:xfrm>
        </p:grpSpPr>
        <p:pic>
          <p:nvPicPr>
            <p:cNvPr id="16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0200" y="4741837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5302045" y="5602513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9226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2. Revisar y Aceptar Pre Requisitos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223" t="10553" r="2611" b="12594"/>
          <a:stretch/>
        </p:blipFill>
        <p:spPr>
          <a:xfrm>
            <a:off x="0" y="1083175"/>
            <a:ext cx="11846256" cy="5268036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29028" y="2381878"/>
            <a:ext cx="1765110" cy="59355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10291929" y="5823805"/>
            <a:ext cx="1628199" cy="58057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8" name="Llamada rectangular redondeada 17"/>
          <p:cNvSpPr/>
          <p:nvPr/>
        </p:nvSpPr>
        <p:spPr bwMode="auto">
          <a:xfrm>
            <a:off x="3177642" y="2381878"/>
            <a:ext cx="2745486" cy="899886"/>
          </a:xfrm>
          <a:prstGeom prst="wedgeRoundRectCallout">
            <a:avLst>
              <a:gd name="adj1" fmla="val -59015"/>
              <a:gd name="adj2" fmla="val -15298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Descarga los prerrequisitos y contesta las preguntas 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Llamada rectangular redondeada 20"/>
          <p:cNvSpPr/>
          <p:nvPr/>
        </p:nvSpPr>
        <p:spPr bwMode="auto">
          <a:xfrm>
            <a:off x="6789911" y="5286775"/>
            <a:ext cx="2920146" cy="1117601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En este punto si puedes responder, no olvides de dar completado al finalizar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4640200" y="4741837"/>
            <a:ext cx="2357232" cy="3892004"/>
            <a:chOff x="4640200" y="4741837"/>
            <a:chExt cx="2357232" cy="3892004"/>
          </a:xfrm>
        </p:grpSpPr>
        <p:pic>
          <p:nvPicPr>
            <p:cNvPr id="22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0200" y="4741837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5302045" y="5637247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31724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805" b="6646"/>
          <a:stretch/>
        </p:blipFill>
        <p:spPr>
          <a:xfrm>
            <a:off x="0" y="605307"/>
            <a:ext cx="12192000" cy="5795493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141668" y="3122723"/>
            <a:ext cx="1382332" cy="3872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1310275" y="2431388"/>
            <a:ext cx="1447027" cy="434882"/>
          </a:xfrm>
          <a:prstGeom prst="wedgeRoundRectCallout">
            <a:avLst>
              <a:gd name="adj1" fmla="val -33498"/>
              <a:gd name="adj2" fmla="val 87392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1. Haga clic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1813775" y="3436767"/>
            <a:ext cx="440028" cy="3872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3696238" y="2704563"/>
            <a:ext cx="2603265" cy="695330"/>
          </a:xfrm>
          <a:prstGeom prst="wedgeRoundRectCallout">
            <a:avLst>
              <a:gd name="adj1" fmla="val -96642"/>
              <a:gd name="adj2" fmla="val 48599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Seleccione los lotes que desea licitar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2. En caso de RFP – Selecciona lotes</a:t>
            </a:r>
          </a:p>
        </p:txBody>
      </p:sp>
      <p:sp>
        <p:nvSpPr>
          <p:cNvPr id="10" name="Llamada rectangular redondeada 9"/>
          <p:cNvSpPr/>
          <p:nvPr/>
        </p:nvSpPr>
        <p:spPr bwMode="auto">
          <a:xfrm>
            <a:off x="6789911" y="5286775"/>
            <a:ext cx="2920146" cy="1117601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Solo selecciona el lote o lotes a los que quieres participar, no es necesario seleccionar todos. 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200" y="4741837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5302045" y="5659017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7242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3. Enviar respuestas del RFP (1/7)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054" b="6457"/>
          <a:stretch/>
        </p:blipFill>
        <p:spPr>
          <a:xfrm>
            <a:off x="0" y="553792"/>
            <a:ext cx="12192000" cy="5859887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6632620" y="4062881"/>
            <a:ext cx="1030310" cy="251542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8305141" y="3118208"/>
            <a:ext cx="2603265" cy="590907"/>
          </a:xfrm>
          <a:prstGeom prst="wedgeRoundRectCallout">
            <a:avLst>
              <a:gd name="adj1" fmla="val -73886"/>
              <a:gd name="adj2" fmla="val 90416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Haga clic en el archivo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147034" y="4303065"/>
            <a:ext cx="1382332" cy="3872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838200" y="5257030"/>
            <a:ext cx="2603265" cy="850005"/>
          </a:xfrm>
          <a:prstGeom prst="wedgeRoundRectCallout">
            <a:avLst>
              <a:gd name="adj1" fmla="val -36286"/>
              <a:gd name="adj2" fmla="val -108977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1. Haga clic en el punto 4, luego de seleccionar los lotes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15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241" b="5330"/>
          <a:stretch/>
        </p:blipFill>
        <p:spPr>
          <a:xfrm>
            <a:off x="0" y="566670"/>
            <a:ext cx="12192000" cy="5924282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8604696" y="5080312"/>
            <a:ext cx="1479461" cy="26442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9344426" y="3959382"/>
            <a:ext cx="2603265" cy="590907"/>
          </a:xfrm>
          <a:prstGeom prst="wedgeRoundRectCallout">
            <a:avLst>
              <a:gd name="adj1" fmla="val -43708"/>
              <a:gd name="adj2" fmla="val 114391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3. Haga clic para descargar adjunto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2/7)</a:t>
            </a:r>
          </a:p>
        </p:txBody>
      </p:sp>
      <p:sp>
        <p:nvSpPr>
          <p:cNvPr id="9" name="Llamada rectangular redondeada 8"/>
          <p:cNvSpPr/>
          <p:nvPr/>
        </p:nvSpPr>
        <p:spPr bwMode="auto">
          <a:xfrm>
            <a:off x="7566175" y="1203223"/>
            <a:ext cx="2920146" cy="1117601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Guarde el Excel en su computadora y complete la lista de precios</a:t>
            </a:r>
          </a:p>
        </p:txBody>
      </p:sp>
      <p:pic>
        <p:nvPicPr>
          <p:cNvPr id="10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5416464" y="658285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6096000" y="1571746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1213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D1EC5A2B-31AA-445F-BB83-05578E80E2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7993" y="821749"/>
            <a:ext cx="6219825" cy="573405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03CFFCA-E741-47E7-9A87-B868A43696DC}"/>
              </a:ext>
            </a:extLst>
          </p:cNvPr>
          <p:cNvSpPr txBox="1"/>
          <p:nvPr/>
        </p:nvSpPr>
        <p:spPr>
          <a:xfrm>
            <a:off x="3039195" y="1231710"/>
            <a:ext cx="1636294" cy="487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Bienes de consumo envasad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2F77A78-ABAB-45B4-88FD-C62CC4B8711D}"/>
              </a:ext>
            </a:extLst>
          </p:cNvPr>
          <p:cNvSpPr txBox="1"/>
          <p:nvPr/>
        </p:nvSpPr>
        <p:spPr>
          <a:xfrm>
            <a:off x="2565784" y="2553840"/>
            <a:ext cx="2150297" cy="4082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Bienes de consumo envasados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Azúcar y alcohol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Cemento, nitratos y cal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PE" sz="1200" dirty="0"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Bienes de consumo envasados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Cemento, nitratos y cal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Azúcar y alcohol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 Papel, embalaje y cartones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Transporte y servicios logísticos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PE" sz="1200" dirty="0">
              <a:cs typeface="Times New Roman" panose="02020603050405020304" pitchFamily="18" charset="0"/>
            </a:endParaRP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PE" sz="1200" dirty="0">
              <a:cs typeface="Times New Roman" panose="02020603050405020304" pitchFamily="18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EFE24B6-1FA2-4D97-83E9-FFAC6A492991}"/>
              </a:ext>
            </a:extLst>
          </p:cNvPr>
          <p:cNvSpPr txBox="1"/>
          <p:nvPr/>
        </p:nvSpPr>
        <p:spPr>
          <a:xfrm>
            <a:off x="7652084" y="1263800"/>
            <a:ext cx="1636294" cy="487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Bienes de consumo envasado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8D27796-A183-478D-9123-670CE20C6874}"/>
              </a:ext>
            </a:extLst>
          </p:cNvPr>
          <p:cNvSpPr/>
          <p:nvPr/>
        </p:nvSpPr>
        <p:spPr>
          <a:xfrm>
            <a:off x="7752533" y="3196075"/>
            <a:ext cx="1833775" cy="985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Bienes de consumo envasados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PE" sz="1200" dirty="0">
                <a:cs typeface="Times New Roman" panose="02020603050405020304" pitchFamily="18" charset="0"/>
              </a:rPr>
              <a:t>Cemento, nitratos y cal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B0425360-03CB-453D-9548-55C417AF363B}"/>
              </a:ext>
            </a:extLst>
          </p:cNvPr>
          <p:cNvSpPr/>
          <p:nvPr/>
        </p:nvSpPr>
        <p:spPr>
          <a:xfrm>
            <a:off x="121093" y="182309"/>
            <a:ext cx="1207090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0"/>
              </a:spcBef>
            </a:pPr>
            <a:r>
              <a:rPr lang="es-ES" altLang="es-ES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rPr>
              <a:t>Grupo Gloria tiene 5 unidades de negocio principales con presencia en varios países de Latinoamérica</a:t>
            </a:r>
            <a:endParaRPr lang="es-PE" sz="1900" b="1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9938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t="8054" b="6081"/>
          <a:stretch/>
        </p:blipFill>
        <p:spPr>
          <a:xfrm>
            <a:off x="0" y="553792"/>
            <a:ext cx="12192000" cy="588564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8720607" y="4565156"/>
            <a:ext cx="1015822" cy="277299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8720607" y="3795636"/>
            <a:ext cx="2544090" cy="590907"/>
          </a:xfrm>
          <a:prstGeom prst="wedgeRoundRectCallout">
            <a:avLst>
              <a:gd name="adj1" fmla="val -35150"/>
              <a:gd name="adj2" fmla="val 7263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4. Cuando complete el Excel, haga clic: 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3/7)</a:t>
            </a:r>
          </a:p>
        </p:txBody>
      </p:sp>
    </p:spTree>
    <p:extLst>
      <p:ext uri="{BB962C8B-B14F-4D97-AF65-F5344CB8AC3E}">
        <p14:creationId xmlns:p14="http://schemas.microsoft.com/office/powerpoint/2010/main" val="2724879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7867" b="5518"/>
          <a:stretch/>
        </p:blipFill>
        <p:spPr>
          <a:xfrm>
            <a:off x="0" y="540914"/>
            <a:ext cx="12192000" cy="5937160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555401" y="2066475"/>
            <a:ext cx="1105974" cy="2774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1320888" y="2625342"/>
            <a:ext cx="2272318" cy="590907"/>
          </a:xfrm>
          <a:prstGeom prst="wedgeRoundRectCallout">
            <a:avLst>
              <a:gd name="adj1" fmla="val -37474"/>
              <a:gd name="adj2" fmla="val -73047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5. Haga clic para seleccionar archivo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6464657" y="2954576"/>
            <a:ext cx="3877078" cy="261673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8569546" y="4825484"/>
            <a:ext cx="2272318" cy="931372"/>
          </a:xfrm>
          <a:prstGeom prst="wedgeRoundRectCallout">
            <a:avLst>
              <a:gd name="adj1" fmla="val 37340"/>
              <a:gd name="adj2" fmla="val -97022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6. Ubique el archivo desde su computador y haga clic en abrir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4/7)</a:t>
            </a:r>
          </a:p>
        </p:txBody>
      </p:sp>
    </p:spTree>
    <p:extLst>
      <p:ext uri="{BB962C8B-B14F-4D97-AF65-F5344CB8AC3E}">
        <p14:creationId xmlns:p14="http://schemas.microsoft.com/office/powerpoint/2010/main" val="3115327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267" b="5870"/>
          <a:stretch/>
        </p:blipFill>
        <p:spPr>
          <a:xfrm>
            <a:off x="0" y="566670"/>
            <a:ext cx="12192000" cy="588564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9789554" y="2671781"/>
            <a:ext cx="1105974" cy="44490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9206382" y="3410388"/>
            <a:ext cx="2272318" cy="440396"/>
          </a:xfrm>
          <a:prstGeom prst="wedgeRoundRectCallout">
            <a:avLst>
              <a:gd name="adj1" fmla="val -11969"/>
              <a:gd name="adj2" fmla="val -77406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8. Haga clic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1624347" y="2072510"/>
            <a:ext cx="1105974" cy="2774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1320888" y="2625342"/>
            <a:ext cx="2272318" cy="785046"/>
          </a:xfrm>
          <a:prstGeom prst="wedgeRoundRectCallout">
            <a:avLst>
              <a:gd name="adj1" fmla="val -28406"/>
              <a:gd name="adj2" fmla="val -79609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7. Visualice si el nombre del archivo es correcto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233258" y="212069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5/7)</a:t>
            </a:r>
          </a:p>
        </p:txBody>
      </p:sp>
    </p:spTree>
    <p:extLst>
      <p:ext uri="{BB962C8B-B14F-4D97-AF65-F5344CB8AC3E}">
        <p14:creationId xmlns:p14="http://schemas.microsoft.com/office/powerpoint/2010/main" val="2435155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805" b="6646"/>
          <a:stretch/>
        </p:blipFill>
        <p:spPr>
          <a:xfrm>
            <a:off x="0" y="605307"/>
            <a:ext cx="12192000" cy="5795493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6582715" y="3412901"/>
            <a:ext cx="1312034" cy="412123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3811611" y="4969098"/>
            <a:ext cx="1507364" cy="412123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4177979" y="5520158"/>
            <a:ext cx="1720546" cy="462615"/>
          </a:xfrm>
          <a:prstGeom prst="wedgeRoundRectCallout">
            <a:avLst>
              <a:gd name="adj1" fmla="val -60625"/>
              <a:gd name="adj2" fmla="val -45059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9. Haga Clic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6/7)</a:t>
            </a:r>
          </a:p>
        </p:txBody>
      </p:sp>
    </p:spTree>
    <p:extLst>
      <p:ext uri="{BB962C8B-B14F-4D97-AF65-F5344CB8AC3E}">
        <p14:creationId xmlns:p14="http://schemas.microsoft.com/office/powerpoint/2010/main" val="2626026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7302" b="5894"/>
          <a:stretch/>
        </p:blipFill>
        <p:spPr>
          <a:xfrm>
            <a:off x="0" y="502276"/>
            <a:ext cx="12192000" cy="595003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 bwMode="auto">
          <a:xfrm>
            <a:off x="1671840" y="4988236"/>
            <a:ext cx="2101670" cy="412123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8575825" y="4988236"/>
            <a:ext cx="2920146" cy="1400569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Haga lo mismo, para los demás lotes que ha decidido participar. Y al finalizar pulse enviar respuesta completa</a:t>
            </a:r>
          </a:p>
        </p:txBody>
      </p:sp>
      <p:pic>
        <p:nvPicPr>
          <p:cNvPr id="9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6426114" y="4726266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233258" y="212069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7/7)</a:t>
            </a:r>
          </a:p>
        </p:txBody>
      </p:sp>
      <p:pic>
        <p:nvPicPr>
          <p:cNvPr id="11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7087959" y="5636652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76F2894B-3370-47AD-BFBF-7A887A301C6F}"/>
              </a:ext>
            </a:extLst>
          </p:cNvPr>
          <p:cNvSpPr/>
          <p:nvPr/>
        </p:nvSpPr>
        <p:spPr bwMode="auto">
          <a:xfrm>
            <a:off x="1720631" y="5033980"/>
            <a:ext cx="2004087" cy="320634"/>
          </a:xfrm>
          <a:prstGeom prst="rect">
            <a:avLst/>
          </a:prstGeom>
          <a:solidFill>
            <a:srgbClr val="0076C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nviar respuesta completa</a:t>
            </a:r>
            <a:endParaRPr kumimoji="0" lang="es-PE" sz="11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96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7302" b="5894"/>
          <a:stretch/>
        </p:blipFill>
        <p:spPr>
          <a:xfrm>
            <a:off x="0" y="453980"/>
            <a:ext cx="12192000" cy="595003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 bwMode="auto">
          <a:xfrm>
            <a:off x="4639379" y="1996019"/>
            <a:ext cx="2236433" cy="52155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8575825" y="4988236"/>
            <a:ext cx="2920146" cy="1400569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Puedes modificar tu respuesta las veces que quiera si el evento sigue abierto. Pulsar el botón Revisar respuestas.</a:t>
            </a:r>
          </a:p>
        </p:txBody>
      </p:sp>
      <p:pic>
        <p:nvPicPr>
          <p:cNvPr id="9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6426114" y="4726266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233258" y="212069"/>
            <a:ext cx="11725484" cy="292388"/>
          </a:xfrm>
        </p:spPr>
        <p:txBody>
          <a:bodyPr/>
          <a:lstStyle/>
          <a:p>
            <a:r>
              <a:rPr lang="es-PE" dirty="0"/>
              <a:t>3. Enviar respuestas del RFP (7/7)</a:t>
            </a:r>
          </a:p>
        </p:txBody>
      </p:sp>
      <p:pic>
        <p:nvPicPr>
          <p:cNvPr id="11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7087959" y="5636652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76F2894B-3370-47AD-BFBF-7A887A301C6F}"/>
              </a:ext>
            </a:extLst>
          </p:cNvPr>
          <p:cNvSpPr/>
          <p:nvPr/>
        </p:nvSpPr>
        <p:spPr bwMode="auto">
          <a:xfrm>
            <a:off x="4736963" y="2087508"/>
            <a:ext cx="2004087" cy="320634"/>
          </a:xfrm>
          <a:prstGeom prst="rect">
            <a:avLst/>
          </a:prstGeom>
          <a:solidFill>
            <a:srgbClr val="0076C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sz="1100" dirty="0">
                <a:solidFill>
                  <a:schemeClr val="bg1"/>
                </a:solidFill>
                <a:latin typeface="Arial" charset="0"/>
              </a:rPr>
              <a:t>Revisar</a:t>
            </a:r>
            <a:r>
              <a:rPr kumimoji="0" lang="es-ES" sz="11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respuesta</a:t>
            </a:r>
            <a:endParaRPr kumimoji="0" lang="es-PE" sz="11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2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EBB34BC-1750-40AD-9A71-8EB49EF664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981" r="1792" b="14261"/>
          <a:stretch/>
        </p:blipFill>
        <p:spPr>
          <a:xfrm>
            <a:off x="1014124" y="735101"/>
            <a:ext cx="10163752" cy="4175346"/>
          </a:xfrm>
          <a:prstGeom prst="rect">
            <a:avLst/>
          </a:prstGeom>
        </p:spPr>
      </p:pic>
      <p:sp>
        <p:nvSpPr>
          <p:cNvPr id="12" name="11 Rectángulo">
            <a:extLst>
              <a:ext uri="{FF2B5EF4-FFF2-40B4-BE49-F238E27FC236}">
                <a16:creationId xmlns:a16="http://schemas.microsoft.com/office/drawing/2014/main" id="{506F9ECF-A240-4192-928A-3253609E057D}"/>
              </a:ext>
            </a:extLst>
          </p:cNvPr>
          <p:cNvSpPr/>
          <p:nvPr/>
        </p:nvSpPr>
        <p:spPr>
          <a:xfrm>
            <a:off x="1357176" y="2794444"/>
            <a:ext cx="2756264" cy="1231291"/>
          </a:xfrm>
          <a:prstGeom prst="rect">
            <a:avLst/>
          </a:prstGeom>
          <a:solidFill>
            <a:schemeClr val="accent1">
              <a:alpha val="1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dirty="0"/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0309E097-151C-45EC-9F54-ED1761E79D85}"/>
              </a:ext>
            </a:extLst>
          </p:cNvPr>
          <p:cNvSpPr/>
          <p:nvPr/>
        </p:nvSpPr>
        <p:spPr>
          <a:xfrm>
            <a:off x="4551839" y="2794443"/>
            <a:ext cx="2443989" cy="671099"/>
          </a:xfrm>
          <a:prstGeom prst="borderCallout1">
            <a:avLst>
              <a:gd name="adj1" fmla="val 52864"/>
              <a:gd name="adj2" fmla="val -933"/>
              <a:gd name="adj3" fmla="val 51764"/>
              <a:gd name="adj4" fmla="val -26746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grese su usuario y contraseña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2C8D7002-035F-4C14-BE8E-B14F7B630096}"/>
              </a:ext>
            </a:extLst>
          </p:cNvPr>
          <p:cNvSpPr/>
          <p:nvPr/>
        </p:nvSpPr>
        <p:spPr>
          <a:xfrm>
            <a:off x="4698119" y="4221403"/>
            <a:ext cx="2507730" cy="459880"/>
          </a:xfrm>
          <a:prstGeom prst="borderCallout1">
            <a:avLst>
              <a:gd name="adj1" fmla="val 52864"/>
              <a:gd name="adj2" fmla="val -933"/>
              <a:gd name="adj3" fmla="val 51764"/>
              <a:gd name="adj4" fmla="val -26746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 olvida su usuario o contraseña haga clic en el link</a:t>
            </a:r>
          </a:p>
        </p:txBody>
      </p:sp>
      <p:sp>
        <p:nvSpPr>
          <p:cNvPr id="7" name="11 Rectángulo">
            <a:extLst>
              <a:ext uri="{FF2B5EF4-FFF2-40B4-BE49-F238E27FC236}">
                <a16:creationId xmlns:a16="http://schemas.microsoft.com/office/drawing/2014/main" id="{77129696-41E7-45C4-883A-1190F4C2800F}"/>
              </a:ext>
            </a:extLst>
          </p:cNvPr>
          <p:cNvSpPr/>
          <p:nvPr/>
        </p:nvSpPr>
        <p:spPr>
          <a:xfrm>
            <a:off x="1246910" y="4365043"/>
            <a:ext cx="2756264" cy="316239"/>
          </a:xfrm>
          <a:prstGeom prst="rect">
            <a:avLst/>
          </a:prstGeom>
          <a:solidFill>
            <a:schemeClr val="accent1">
              <a:alpha val="1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99214-10E4-4BC4-8C25-8DACE76DBF8C}"/>
              </a:ext>
            </a:extLst>
          </p:cNvPr>
          <p:cNvSpPr txBox="1"/>
          <p:nvPr/>
        </p:nvSpPr>
        <p:spPr>
          <a:xfrm>
            <a:off x="149096" y="186943"/>
            <a:ext cx="4402744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Inicia en el portal de </a:t>
            </a:r>
            <a:r>
              <a:rPr lang="es-CL" sz="19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Ariba</a:t>
            </a:r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CL" sz="19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Sourcing</a:t>
            </a:r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Llamada rectangular redondeada 10"/>
          <p:cNvSpPr/>
          <p:nvPr/>
        </p:nvSpPr>
        <p:spPr bwMode="auto">
          <a:xfrm>
            <a:off x="3808728" y="5593779"/>
            <a:ext cx="2715592" cy="827900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Ingrese con su Usuario y Contraseña que creo 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177463" y="5875166"/>
            <a:ext cx="4840366" cy="6771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es-CL" sz="1900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También puedes ingresar pulsando el link: </a:t>
            </a:r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  <a:hlinkClick r:id="rId4"/>
              </a:rPr>
              <a:t>http://grupogloria.supplier.ariba.com</a:t>
            </a:r>
            <a:r>
              <a:rPr lang="es-CL" sz="19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1659614" y="4911998"/>
            <a:ext cx="2357232" cy="3892004"/>
            <a:chOff x="1659614" y="4911998"/>
            <a:chExt cx="2357232" cy="3892004"/>
          </a:xfrm>
        </p:grpSpPr>
        <p:pic>
          <p:nvPicPr>
            <p:cNvPr id="15" name="Picture 4" descr="Imagen relacionada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9614" y="4911998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2321459" y="5821171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60343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-1" t="7811" r="4285" b="8551"/>
          <a:stretch/>
        </p:blipFill>
        <p:spPr>
          <a:xfrm>
            <a:off x="290288" y="738425"/>
            <a:ext cx="11669485" cy="5733142"/>
          </a:xfrm>
          <a:prstGeom prst="rect">
            <a:avLst/>
          </a:prstGeom>
        </p:spPr>
      </p:pic>
      <p:sp>
        <p:nvSpPr>
          <p:cNvPr id="7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1928721" y="4330710"/>
            <a:ext cx="1596053" cy="776656"/>
          </a:xfrm>
          <a:prstGeom prst="borderCallout1">
            <a:avLst>
              <a:gd name="adj1" fmla="val 52864"/>
              <a:gd name="adj2" fmla="val -933"/>
              <a:gd name="adj3" fmla="val -150068"/>
              <a:gd name="adj4" fmla="val 80379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/>
        </p:nvGraphicFramePr>
        <p:xfrm>
          <a:off x="290288" y="4330710"/>
          <a:ext cx="4223656" cy="211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9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46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PE" sz="1400" dirty="0"/>
                        <a:t>Estados</a:t>
                      </a:r>
                      <a:r>
                        <a:rPr lang="es-PE" sz="1400" baseline="0" dirty="0"/>
                        <a:t> </a:t>
                      </a:r>
                      <a:endParaRPr lang="es-PE" sz="1400" dirty="0"/>
                    </a:p>
                  </a:txBody>
                  <a:tcPr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dirty="0"/>
                        <a:t>Concepto</a:t>
                      </a:r>
                      <a:r>
                        <a:rPr lang="es-PE" sz="1400" baseline="0" dirty="0"/>
                        <a:t> </a:t>
                      </a:r>
                      <a:endParaRPr lang="es-PE" sz="1400" dirty="0"/>
                    </a:p>
                  </a:txBody>
                  <a:tcPr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s-PE" sz="1100" b="1" dirty="0">
                          <a:solidFill>
                            <a:schemeClr val="tx1"/>
                          </a:solidFill>
                        </a:rPr>
                        <a:t>Pre visualización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200" dirty="0"/>
                        <a:t>El evento es</a:t>
                      </a:r>
                      <a:r>
                        <a:rPr lang="es-PE" sz="1200" baseline="0" dirty="0"/>
                        <a:t> visible pero no se encuentra habilitado para responder</a:t>
                      </a:r>
                      <a:endParaRPr lang="es-PE" sz="1200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s-PE" sz="1100" b="1" dirty="0">
                          <a:solidFill>
                            <a:schemeClr val="tx1"/>
                          </a:solidFill>
                        </a:rPr>
                        <a:t>Abierto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200" dirty="0"/>
                        <a:t>El evento esta</a:t>
                      </a:r>
                      <a:r>
                        <a:rPr lang="es-PE" sz="1200" baseline="0" dirty="0"/>
                        <a:t> habilitado para ser respondido</a:t>
                      </a:r>
                      <a:endParaRPr lang="es-PE" sz="1200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s-PE" sz="1100" b="1" dirty="0">
                          <a:solidFill>
                            <a:schemeClr val="tx1"/>
                          </a:solidFill>
                        </a:rPr>
                        <a:t>Selección Pendiente 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200" dirty="0"/>
                        <a:t>El Evento</a:t>
                      </a:r>
                      <a:r>
                        <a:rPr lang="es-PE" sz="1200" baseline="0" dirty="0"/>
                        <a:t> ha sido respondido pero aún no finalizado (en revisión)</a:t>
                      </a:r>
                      <a:endParaRPr lang="es-PE" sz="1200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s-PE" sz="1100" b="1" dirty="0">
                          <a:solidFill>
                            <a:schemeClr val="tx1"/>
                          </a:solidFill>
                        </a:rPr>
                        <a:t>Finalizado </a:t>
                      </a:r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200" dirty="0"/>
                        <a:t>El</a:t>
                      </a:r>
                      <a:r>
                        <a:rPr lang="es-PE" sz="1200" baseline="0" dirty="0"/>
                        <a:t> evento ha finalizado. </a:t>
                      </a:r>
                      <a:endParaRPr lang="es-PE" sz="1200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Rectángulo 7"/>
          <p:cNvSpPr/>
          <p:nvPr/>
        </p:nvSpPr>
        <p:spPr>
          <a:xfrm>
            <a:off x="3222172" y="2937338"/>
            <a:ext cx="2583543" cy="76925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62148" y="234895"/>
            <a:ext cx="11725484" cy="292388"/>
          </a:xfrm>
        </p:spPr>
        <p:txBody>
          <a:bodyPr/>
          <a:lstStyle/>
          <a:p>
            <a:r>
              <a:rPr lang="es-PE" dirty="0"/>
              <a:t>Seguimiento del estado del evento </a:t>
            </a:r>
          </a:p>
        </p:txBody>
      </p:sp>
      <p:sp>
        <p:nvSpPr>
          <p:cNvPr id="10" name="Llamada rectangular redondeada 9"/>
          <p:cNvSpPr/>
          <p:nvPr/>
        </p:nvSpPr>
        <p:spPr bwMode="auto">
          <a:xfrm>
            <a:off x="5943600" y="4842646"/>
            <a:ext cx="3803702" cy="1234304"/>
          </a:xfrm>
          <a:prstGeom prst="wedgeRoundRectCallout">
            <a:avLst>
              <a:gd name="adj1" fmla="val 56050"/>
              <a:gd name="adj2" fmla="val 3076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Da seguimiento a los eventos a los que haz participado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Si quieres hacer una pregunta de un evento, pulsa uno de ellos.</a:t>
            </a:r>
          </a:p>
        </p:txBody>
      </p:sp>
      <p:pic>
        <p:nvPicPr>
          <p:cNvPr id="11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3562"/>
          <a:stretch/>
        </p:blipFill>
        <p:spPr bwMode="auto">
          <a:xfrm>
            <a:off x="9602541" y="4842646"/>
            <a:ext cx="2357232" cy="403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10264386" y="5731130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949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486" y="395363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465131" y="3252630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542" y="2570120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230798" y="3449928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16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7840" y="185861"/>
            <a:ext cx="10972800" cy="292388"/>
          </a:xfrm>
        </p:spPr>
        <p:txBody>
          <a:bodyPr/>
          <a:lstStyle/>
          <a:p>
            <a:r>
              <a:rPr lang="es-PE" dirty="0"/>
              <a:t>Mensajería de Ariba Sourcing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A3EA67-5A25-44D4-A768-55161C71BA8A}" type="datetime1">
              <a:rPr lang="es-PE" smtClean="0"/>
              <a:t>3/02/2023</a:t>
            </a:fld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7302" b="5894"/>
          <a:stretch/>
        </p:blipFill>
        <p:spPr>
          <a:xfrm>
            <a:off x="0" y="502276"/>
            <a:ext cx="12192000" cy="5950039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147840" y="2149787"/>
            <a:ext cx="1128510" cy="23146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8213734" y="5581858"/>
            <a:ext cx="2802362" cy="644369"/>
          </a:xfrm>
          <a:prstGeom prst="wedgeRoundRectCallout">
            <a:avLst>
              <a:gd name="adj1" fmla="val -50829"/>
              <a:gd name="adj2" fmla="val -75711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Haga clic para Enviar mensaje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6C7830C-CE93-4640-92CB-291FF4C8A5F8}"/>
              </a:ext>
            </a:extLst>
          </p:cNvPr>
          <p:cNvSpPr/>
          <p:nvPr/>
        </p:nvSpPr>
        <p:spPr bwMode="auto">
          <a:xfrm>
            <a:off x="6570410" y="4997885"/>
            <a:ext cx="1552311" cy="35788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760F5B7-7E70-4871-A30A-9BA458F126BB}"/>
              </a:ext>
            </a:extLst>
          </p:cNvPr>
          <p:cNvSpPr/>
          <p:nvPr/>
        </p:nvSpPr>
        <p:spPr bwMode="auto">
          <a:xfrm>
            <a:off x="6611833" y="5046199"/>
            <a:ext cx="1469463" cy="261255"/>
          </a:xfrm>
          <a:prstGeom prst="rect">
            <a:avLst/>
          </a:prstGeom>
          <a:solidFill>
            <a:srgbClr val="0076C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sz="1100" dirty="0">
                <a:solidFill>
                  <a:schemeClr val="bg1"/>
                </a:solidFill>
                <a:latin typeface="Arial" charset="0"/>
              </a:rPr>
              <a:t>Escribir mensaje</a:t>
            </a:r>
            <a:endParaRPr kumimoji="0" lang="es-PE" sz="11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5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417004" y="2771367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415" y="2088857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181260" y="2995961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/>
          <p:cNvSpPr txBox="1"/>
          <p:nvPr/>
        </p:nvSpPr>
        <p:spPr>
          <a:xfrm>
            <a:off x="312355" y="72737"/>
            <a:ext cx="38340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/>
              <a:t>Ariba Sourcing 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65221" y="644824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0493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Mensajes de Ariba Sourcing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033728" y="1671360"/>
            <a:ext cx="5853025" cy="1247204"/>
          </a:xfrm>
        </p:spPr>
        <p:txBody>
          <a:bodyPr/>
          <a:lstStyle/>
          <a:p>
            <a:endParaRPr lang="es-PE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t="8337" r="1716" b="12420"/>
          <a:stretch/>
        </p:blipFill>
        <p:spPr>
          <a:xfrm>
            <a:off x="162148" y="901846"/>
            <a:ext cx="11982734" cy="543180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667115" y="5742336"/>
            <a:ext cx="6832209" cy="5209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Llamada rectangular redondeada 6"/>
          <p:cNvSpPr/>
          <p:nvPr/>
        </p:nvSpPr>
        <p:spPr bwMode="auto">
          <a:xfrm>
            <a:off x="6327924" y="1208275"/>
            <a:ext cx="4016225" cy="1117601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Si quieres hacer una consulta al Comprador, utiliza este medio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La respuesta llegará a esta bandeja y se notificará a tu correo electrónico. </a:t>
            </a:r>
          </a:p>
        </p:txBody>
      </p:sp>
      <p:pic>
        <p:nvPicPr>
          <p:cNvPr id="8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4140114" y="598443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4801959" y="1484802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954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Mensajes de Evento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973092" y="1671355"/>
            <a:ext cx="5853025" cy="1247204"/>
          </a:xfrm>
        </p:spPr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338" r="1045" b="18990"/>
          <a:stretch/>
        </p:blipFill>
        <p:spPr>
          <a:xfrm>
            <a:off x="162148" y="980723"/>
            <a:ext cx="11899352" cy="491319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5" name="Llamada rectangular redondeada 4"/>
          <p:cNvSpPr/>
          <p:nvPr/>
        </p:nvSpPr>
        <p:spPr bwMode="auto">
          <a:xfrm>
            <a:off x="5620836" y="2491590"/>
            <a:ext cx="4016225" cy="918509"/>
          </a:xfrm>
          <a:prstGeom prst="wedgeRoundRectCallout">
            <a:avLst>
              <a:gd name="adj1" fmla="val 56050"/>
              <a:gd name="adj2" fmla="val 3076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No necesitas colocar destinatario, tus dudas lleguen al Comprador. No te olvides de hacer clic en enviar.</a:t>
            </a:r>
          </a:p>
        </p:txBody>
      </p:sp>
      <p:pic>
        <p:nvPicPr>
          <p:cNvPr id="6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3562"/>
          <a:stretch/>
        </p:blipFill>
        <p:spPr bwMode="auto">
          <a:xfrm>
            <a:off x="9530400" y="2707948"/>
            <a:ext cx="2357232" cy="403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/>
          <p:cNvSpPr/>
          <p:nvPr/>
        </p:nvSpPr>
        <p:spPr bwMode="auto">
          <a:xfrm>
            <a:off x="9694211" y="1709378"/>
            <a:ext cx="1128510" cy="50703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10176578" y="3570517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73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486" y="395363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465131" y="3252630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542" y="2570120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244446" y="3477224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6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1. Centro de Ayuda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898876" y="1482669"/>
            <a:ext cx="5853025" cy="1247204"/>
          </a:xfrm>
        </p:spPr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-112" t="8139" r="1381" b="13415"/>
          <a:stretch/>
        </p:blipFill>
        <p:spPr>
          <a:xfrm>
            <a:off x="0" y="713155"/>
            <a:ext cx="12037326" cy="5377218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9546060" y="713155"/>
            <a:ext cx="2491265" cy="537721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7250227" y="3596407"/>
            <a:ext cx="2029702" cy="858673"/>
          </a:xfrm>
          <a:prstGeom prst="borderCallout1">
            <a:avLst>
              <a:gd name="adj1" fmla="val 54502"/>
              <a:gd name="adj2" fmla="val 98872"/>
              <a:gd name="adj3" fmla="val 55041"/>
              <a:gd name="adj4" fmla="val 113641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guntas Frecuentes</a:t>
            </a:r>
          </a:p>
        </p:txBody>
      </p:sp>
      <p:sp>
        <p:nvSpPr>
          <p:cNvPr id="7" name="Rectángulo 6"/>
          <p:cNvSpPr/>
          <p:nvPr/>
        </p:nvSpPr>
        <p:spPr>
          <a:xfrm>
            <a:off x="10791692" y="5429459"/>
            <a:ext cx="1116000" cy="3240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Llamada rectangular redondeada 8"/>
          <p:cNvSpPr/>
          <p:nvPr/>
        </p:nvSpPr>
        <p:spPr bwMode="auto">
          <a:xfrm>
            <a:off x="6235419" y="4824840"/>
            <a:ext cx="2839552" cy="1117601"/>
          </a:xfrm>
          <a:prstGeom prst="wedgeRoundRectCallout">
            <a:avLst>
              <a:gd name="adj1" fmla="val -63480"/>
              <a:gd name="adj2" fmla="val 3929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Haga clic en “Ver más”, para acceder a las opciones del Centro de Ayuda</a:t>
            </a:r>
          </a:p>
        </p:txBody>
      </p:sp>
      <p:pic>
        <p:nvPicPr>
          <p:cNvPr id="10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0110"/>
          <a:stretch/>
        </p:blipFill>
        <p:spPr bwMode="auto">
          <a:xfrm>
            <a:off x="4047608" y="4215008"/>
            <a:ext cx="2357232" cy="233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4709453" y="5110935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5787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2. </a:t>
            </a:r>
            <a:r>
              <a:rPr lang="es-PE" dirty="0" err="1"/>
              <a:t>User</a:t>
            </a:r>
            <a:r>
              <a:rPr lang="es-PE" dirty="0"/>
              <a:t> </a:t>
            </a:r>
            <a:r>
              <a:rPr lang="es-PE" dirty="0" err="1"/>
              <a:t>Community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4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6751" b="6433"/>
          <a:stretch/>
        </p:blipFill>
        <p:spPr>
          <a:xfrm>
            <a:off x="0" y="613277"/>
            <a:ext cx="12192000" cy="5950857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 bwMode="auto">
          <a:xfrm>
            <a:off x="692410" y="1219200"/>
            <a:ext cx="6056733" cy="39937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7538033" y="1219200"/>
            <a:ext cx="3865076" cy="899885"/>
          </a:xfrm>
          <a:prstGeom prst="wedgeRoundRectCallout">
            <a:avLst>
              <a:gd name="adj1" fmla="val -64118"/>
              <a:gd name="adj2" fmla="val -34963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1. Coloque palabras clave, el buscador filtrará información en todo el Centro de Ayuda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Llamada rectangular redondeada 6"/>
          <p:cNvSpPr/>
          <p:nvPr/>
        </p:nvSpPr>
        <p:spPr bwMode="auto">
          <a:xfrm>
            <a:off x="7954226" y="5001422"/>
            <a:ext cx="3535967" cy="1428407"/>
          </a:xfrm>
          <a:prstGeom prst="wedgeRoundRectCallout">
            <a:avLst>
              <a:gd name="adj1" fmla="val -67627"/>
              <a:gd name="adj2" fmla="val 21855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El Centro de Ayuda esta compuesto por: 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PE" sz="1600" b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ser</a:t>
            </a:r>
            <a:r>
              <a:rPr kumimoji="0" lang="es-PE" sz="16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es-PE" sz="1600" b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mmunity</a:t>
            </a:r>
            <a:r>
              <a:rPr kumimoji="0" lang="es-PE" sz="16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PE" sz="1600" b="1" dirty="0">
                <a:latin typeface="Arial" charset="0"/>
              </a:rPr>
              <a:t>Centro de aprendizaje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PE" sz="16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entro de asistencia </a:t>
            </a: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3976232" y="1774551"/>
            <a:ext cx="2511654" cy="899885"/>
          </a:xfrm>
          <a:prstGeom prst="wedgeRoundRectCallout">
            <a:avLst>
              <a:gd name="adj1" fmla="val -56232"/>
              <a:gd name="adj2" fmla="val -28511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Red de preguntas y respuestas de Usuarios de </a:t>
            </a:r>
            <a:r>
              <a:rPr lang="es-PE" sz="1600" dirty="0" err="1">
                <a:latin typeface="Arial" charset="0"/>
              </a:rPr>
              <a:t>Ariba</a:t>
            </a:r>
            <a:r>
              <a:rPr lang="es-PE" sz="1600" dirty="0">
                <a:latin typeface="Arial" charset="0"/>
              </a:rPr>
              <a:t> a nivel mundial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ángulo 8"/>
          <p:cNvSpPr/>
          <p:nvPr/>
        </p:nvSpPr>
        <p:spPr bwMode="auto">
          <a:xfrm>
            <a:off x="692409" y="1763845"/>
            <a:ext cx="3110333" cy="39937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5596994" y="4688769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ángulo 10"/>
          <p:cNvSpPr/>
          <p:nvPr/>
        </p:nvSpPr>
        <p:spPr bwMode="auto">
          <a:xfrm>
            <a:off x="8167042" y="2224493"/>
            <a:ext cx="3110333" cy="165082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Conector recto 12"/>
          <p:cNvCxnSpPr/>
          <p:nvPr/>
        </p:nvCxnSpPr>
        <p:spPr bwMode="auto">
          <a:xfrm flipV="1">
            <a:off x="10476952" y="3875314"/>
            <a:ext cx="0" cy="112610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6258840" y="5558076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62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2"/>
          <a:srcRect t="7599" b="5799"/>
          <a:stretch/>
        </p:blipFill>
        <p:spPr>
          <a:xfrm>
            <a:off x="0" y="522514"/>
            <a:ext cx="12192000" cy="593634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3. Centro de Aprendizaje</a:t>
            </a: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5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5" name="Llamada rectangular redondeada 4"/>
          <p:cNvSpPr/>
          <p:nvPr/>
        </p:nvSpPr>
        <p:spPr bwMode="auto">
          <a:xfrm>
            <a:off x="4121374" y="1412281"/>
            <a:ext cx="3382511" cy="707392"/>
          </a:xfrm>
          <a:prstGeom prst="wedgeRoundRectCallout">
            <a:avLst>
              <a:gd name="adj1" fmla="val -56232"/>
              <a:gd name="adj2" fmla="val 2266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Guías y tutoriales de principales funciones de Ariba Sourcing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ángulo 5"/>
          <p:cNvSpPr/>
          <p:nvPr/>
        </p:nvSpPr>
        <p:spPr bwMode="auto">
          <a:xfrm>
            <a:off x="677894" y="1566291"/>
            <a:ext cx="3110333" cy="39937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6096000" y="2199731"/>
            <a:ext cx="5442857" cy="2386783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Llamada rectangular redondeada 9"/>
          <p:cNvSpPr/>
          <p:nvPr/>
        </p:nvSpPr>
        <p:spPr bwMode="auto">
          <a:xfrm>
            <a:off x="6822179" y="5486400"/>
            <a:ext cx="3535967" cy="928397"/>
          </a:xfrm>
          <a:prstGeom prst="wedgeRoundRectCallout">
            <a:avLst>
              <a:gd name="adj1" fmla="val -62291"/>
              <a:gd name="adj2" fmla="val 27952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b="1" dirty="0">
                <a:latin typeface="Arial" charset="0"/>
              </a:rPr>
              <a:t>Accede a los Tutoriales, son videos detallados con el paso a paso.</a:t>
            </a:r>
            <a:endParaRPr kumimoji="0" lang="es-PE" sz="16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15"/>
          <a:stretch/>
        </p:blipFill>
        <p:spPr bwMode="auto">
          <a:xfrm>
            <a:off x="4595576" y="4676162"/>
            <a:ext cx="2357232" cy="187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Imagen relacionada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5295858" y="5577482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2306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4. Centro de Asistencia (1/4)</a:t>
            </a: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6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7387" b="5798"/>
          <a:stretch/>
        </p:blipFill>
        <p:spPr>
          <a:xfrm>
            <a:off x="0" y="613277"/>
            <a:ext cx="12192000" cy="5950857"/>
          </a:xfrm>
          <a:prstGeom prst="rect">
            <a:avLst/>
          </a:prstGeom>
        </p:spPr>
      </p:pic>
      <p:sp>
        <p:nvSpPr>
          <p:cNvPr id="5" name="Llamada rectangular redondeada 4"/>
          <p:cNvSpPr/>
          <p:nvPr/>
        </p:nvSpPr>
        <p:spPr bwMode="auto">
          <a:xfrm>
            <a:off x="4150403" y="1271278"/>
            <a:ext cx="4616226" cy="898047"/>
          </a:xfrm>
          <a:prstGeom prst="wedgeRoundRectCallout">
            <a:avLst>
              <a:gd name="adj1" fmla="val -56232"/>
              <a:gd name="adj2" fmla="val 1589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Coloca palabras clave, en caso de no resolver tu consulta, podrás comunicarte con ARIBA por teléfono o por correo electrónico.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ángulo 5"/>
          <p:cNvSpPr/>
          <p:nvPr/>
        </p:nvSpPr>
        <p:spPr bwMode="auto">
          <a:xfrm>
            <a:off x="692409" y="1720302"/>
            <a:ext cx="3110333" cy="39937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661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7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6540" b="6646"/>
          <a:stretch/>
        </p:blipFill>
        <p:spPr>
          <a:xfrm>
            <a:off x="0" y="533219"/>
            <a:ext cx="12192000" cy="5950857"/>
          </a:xfrm>
          <a:prstGeom prst="rect">
            <a:avLst/>
          </a:prstGeom>
        </p:spPr>
      </p:pic>
      <p:sp>
        <p:nvSpPr>
          <p:cNvPr id="5" name="Llamada rectangular redondeada 4"/>
          <p:cNvSpPr/>
          <p:nvPr/>
        </p:nvSpPr>
        <p:spPr bwMode="auto">
          <a:xfrm>
            <a:off x="7916859" y="4325258"/>
            <a:ext cx="3389769" cy="898047"/>
          </a:xfrm>
          <a:prstGeom prst="wedgeRoundRectCallout">
            <a:avLst>
              <a:gd name="adj1" fmla="val -56232"/>
              <a:gd name="adj2" fmla="val 1589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2. En caso de no encontrar solución puede usar los canales descritos.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ángulo 5"/>
          <p:cNvSpPr/>
          <p:nvPr/>
        </p:nvSpPr>
        <p:spPr bwMode="auto">
          <a:xfrm>
            <a:off x="735952" y="4325258"/>
            <a:ext cx="6839822" cy="164254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735952" y="2320906"/>
            <a:ext cx="6811477" cy="1859208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Llamada rectangular redondeada 7"/>
          <p:cNvSpPr/>
          <p:nvPr/>
        </p:nvSpPr>
        <p:spPr bwMode="auto">
          <a:xfrm>
            <a:off x="7916859" y="2610600"/>
            <a:ext cx="3389769" cy="698657"/>
          </a:xfrm>
          <a:prstGeom prst="wedgeRoundRectCallout">
            <a:avLst>
              <a:gd name="adj1" fmla="val -56232"/>
              <a:gd name="adj2" fmla="val 1589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1. Muestra guías y videos que puedan ayudar a resolver la duda.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162142" y="234892"/>
            <a:ext cx="11725484" cy="298327"/>
          </a:xfrm>
        </p:spPr>
        <p:txBody>
          <a:bodyPr/>
          <a:lstStyle/>
          <a:p>
            <a:r>
              <a:rPr lang="es-PE" dirty="0"/>
              <a:t>4. Centro de Asistencia (2/4)</a:t>
            </a:r>
          </a:p>
        </p:txBody>
      </p:sp>
    </p:spTree>
    <p:extLst>
      <p:ext uri="{BB962C8B-B14F-4D97-AF65-F5344CB8AC3E}">
        <p14:creationId xmlns:p14="http://schemas.microsoft.com/office/powerpoint/2010/main" val="3738306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8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357" t="6751" r="-357" b="5505"/>
          <a:stretch/>
        </p:blipFill>
        <p:spPr>
          <a:xfrm>
            <a:off x="43542" y="464457"/>
            <a:ext cx="12192000" cy="6014498"/>
          </a:xfrm>
          <a:prstGeom prst="rect">
            <a:avLst/>
          </a:prstGeom>
        </p:spPr>
      </p:pic>
      <p:sp>
        <p:nvSpPr>
          <p:cNvPr id="5" name="Llamada rectangular redondeada 4"/>
          <p:cNvSpPr/>
          <p:nvPr/>
        </p:nvSpPr>
        <p:spPr bwMode="auto">
          <a:xfrm>
            <a:off x="7902345" y="1509486"/>
            <a:ext cx="3389769" cy="665819"/>
          </a:xfrm>
          <a:prstGeom prst="wedgeRoundRectCallout">
            <a:avLst>
              <a:gd name="adj1" fmla="val -56232"/>
              <a:gd name="adj2" fmla="val 1589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Llene el formulario con la duda o incidencia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107991" y="166130"/>
            <a:ext cx="11725484" cy="298327"/>
          </a:xfrm>
        </p:spPr>
        <p:txBody>
          <a:bodyPr/>
          <a:lstStyle/>
          <a:p>
            <a:r>
              <a:rPr lang="es-PE" dirty="0"/>
              <a:t>4. Centro de Asistencia (3/4)</a:t>
            </a:r>
          </a:p>
        </p:txBody>
      </p:sp>
    </p:spTree>
    <p:extLst>
      <p:ext uri="{BB962C8B-B14F-4D97-AF65-F5344CB8AC3E}">
        <p14:creationId xmlns:p14="http://schemas.microsoft.com/office/powerpoint/2010/main" val="4186310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D418F5-4791-4B18-A7E7-B523FDD38919}" type="slidenum">
              <a:rPr lang="en-US" smtClean="0"/>
              <a:pPr>
                <a:defRPr/>
              </a:pPr>
              <a:t>39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19880" b="6644"/>
          <a:stretch/>
        </p:blipFill>
        <p:spPr>
          <a:xfrm>
            <a:off x="0" y="533219"/>
            <a:ext cx="12192000" cy="5036457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473169" y="4123914"/>
            <a:ext cx="11103429" cy="230832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s-PE" sz="1600" b="1" dirty="0"/>
              <a:t>RECUERDE: </a:t>
            </a:r>
          </a:p>
          <a:p>
            <a:pPr lvl="0"/>
            <a:r>
              <a:rPr lang="es-PE" sz="1600" dirty="0"/>
              <a:t>El centro de asistencia en </a:t>
            </a:r>
            <a:r>
              <a:rPr lang="es-PE" sz="1600" dirty="0" err="1"/>
              <a:t>Ariba</a:t>
            </a:r>
            <a:r>
              <a:rPr lang="es-PE" sz="1600" dirty="0"/>
              <a:t>, permite absolver dudas de proveedores a través de dos canales de comunicación por correo y por teléfono, para ello es importante mencionar que: 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PE" sz="1600" dirty="0"/>
              <a:t>En ambos casos debe llenar un formulario sobre sus datos. 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PE" sz="1600" dirty="0"/>
              <a:t>En caso de vía </a:t>
            </a:r>
            <a:r>
              <a:rPr lang="es-PE" sz="1600" dirty="0" err="1"/>
              <a:t>telefonica</a:t>
            </a:r>
            <a:r>
              <a:rPr lang="es-PE" sz="1600" dirty="0"/>
              <a:t>, </a:t>
            </a:r>
            <a:r>
              <a:rPr lang="es-PE" sz="1600" dirty="0" err="1"/>
              <a:t>Ariba</a:t>
            </a:r>
            <a:r>
              <a:rPr lang="es-PE" sz="1600" dirty="0"/>
              <a:t> lo llamará según los datos del formulario.  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PE" sz="1600" dirty="0"/>
              <a:t>En el formulario se debe colocar la prioridad de la consulta siendo: 1 impacto en el negocio, cuando la plataforma no funciona / 2 cuando una funcionalidad no responde / 3 Consultas sobre funcionalidades</a:t>
            </a:r>
          </a:p>
          <a:p>
            <a:pPr marL="342900" lvl="0" indent="-342900">
              <a:buFont typeface="+mj-lt"/>
              <a:buAutoNum type="arabicPeriod"/>
            </a:pPr>
            <a:r>
              <a:rPr lang="es-PE" sz="1600" dirty="0"/>
              <a:t>En cualquiera de los dos medios, el promedio de atención es entre un rango de inmediato y 24 horas de acuerdo a la prioridad que se haya colocado.</a:t>
            </a:r>
          </a:p>
        </p:txBody>
      </p:sp>
      <p:sp>
        <p:nvSpPr>
          <p:cNvPr id="6" name="Llamada rectangular redondeada 5"/>
          <p:cNvSpPr/>
          <p:nvPr/>
        </p:nvSpPr>
        <p:spPr bwMode="auto">
          <a:xfrm>
            <a:off x="7829773" y="638180"/>
            <a:ext cx="3389769" cy="665819"/>
          </a:xfrm>
          <a:prstGeom prst="wedgeRoundRectCallout">
            <a:avLst>
              <a:gd name="adj1" fmla="val -56232"/>
              <a:gd name="adj2" fmla="val 1589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Coloque su información de contacto. 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162142" y="234892"/>
            <a:ext cx="11725484" cy="298327"/>
          </a:xfrm>
        </p:spPr>
        <p:txBody>
          <a:bodyPr/>
          <a:lstStyle/>
          <a:p>
            <a:r>
              <a:rPr lang="es-PE" dirty="0"/>
              <a:t>4. Centro de Asistencia (4/4)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0" y="2248549"/>
            <a:ext cx="2357232" cy="1875365"/>
            <a:chOff x="0" y="2248549"/>
            <a:chExt cx="2357232" cy="1875365"/>
          </a:xfrm>
        </p:grpSpPr>
        <p:pic>
          <p:nvPicPr>
            <p:cNvPr id="8" name="Picture 4" descr="Imagen relacionada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815"/>
            <a:stretch/>
          </p:blipFill>
          <p:spPr bwMode="auto">
            <a:xfrm>
              <a:off x="0" y="2248549"/>
              <a:ext cx="2357232" cy="18753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661845" y="3079691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5877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91886" y="275771"/>
            <a:ext cx="51816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9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Principales Conceptos previo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5680880" y="525875"/>
            <a:ext cx="2351314" cy="840000"/>
          </a:xfrm>
          <a:prstGeom prst="rect">
            <a:avLst/>
          </a:prstGeom>
          <a:solidFill>
            <a:srgbClr val="001F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/>
              <a:t>Evento</a:t>
            </a:r>
          </a:p>
          <a:p>
            <a:pPr algn="ctr"/>
            <a:r>
              <a:rPr lang="es-PE" sz="1200" dirty="0"/>
              <a:t>(Proceso para intercambiar información con el proveedor) </a:t>
            </a:r>
          </a:p>
        </p:txBody>
      </p:sp>
      <p:sp>
        <p:nvSpPr>
          <p:cNvPr id="4" name="Rectángulo 3"/>
          <p:cNvSpPr/>
          <p:nvPr/>
        </p:nvSpPr>
        <p:spPr>
          <a:xfrm>
            <a:off x="5680880" y="1670674"/>
            <a:ext cx="2351314" cy="870858"/>
          </a:xfrm>
          <a:prstGeom prst="rect">
            <a:avLst/>
          </a:prstGeom>
          <a:noFill/>
          <a:ln>
            <a:solidFill>
              <a:srgbClr val="001F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RFI</a:t>
            </a:r>
          </a:p>
        </p:txBody>
      </p:sp>
      <p:sp>
        <p:nvSpPr>
          <p:cNvPr id="5" name="Rectángulo 4"/>
          <p:cNvSpPr/>
          <p:nvPr/>
        </p:nvSpPr>
        <p:spPr>
          <a:xfrm>
            <a:off x="5680880" y="3375570"/>
            <a:ext cx="2351314" cy="870858"/>
          </a:xfrm>
          <a:prstGeom prst="rect">
            <a:avLst/>
          </a:prstGeom>
          <a:noFill/>
          <a:ln>
            <a:solidFill>
              <a:srgbClr val="001F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RFP</a:t>
            </a:r>
          </a:p>
        </p:txBody>
      </p:sp>
      <p:sp>
        <p:nvSpPr>
          <p:cNvPr id="6" name="Rectángulo 5"/>
          <p:cNvSpPr/>
          <p:nvPr/>
        </p:nvSpPr>
        <p:spPr>
          <a:xfrm>
            <a:off x="5680880" y="5029374"/>
            <a:ext cx="2351314" cy="870858"/>
          </a:xfrm>
          <a:prstGeom prst="rect">
            <a:avLst/>
          </a:prstGeom>
          <a:noFill/>
          <a:ln>
            <a:solidFill>
              <a:srgbClr val="001F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SUBASTA</a:t>
            </a:r>
          </a:p>
        </p:txBody>
      </p:sp>
      <p:sp>
        <p:nvSpPr>
          <p:cNvPr id="7" name="Elipse 6"/>
          <p:cNvSpPr/>
          <p:nvPr/>
        </p:nvSpPr>
        <p:spPr>
          <a:xfrm>
            <a:off x="536866" y="1321527"/>
            <a:ext cx="4296230" cy="4296230"/>
          </a:xfrm>
          <a:prstGeom prst="ellipse">
            <a:avLst/>
          </a:prstGeom>
          <a:solidFill>
            <a:schemeClr val="bg2"/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CuadroTexto 7"/>
          <p:cNvSpPr txBox="1"/>
          <p:nvPr/>
        </p:nvSpPr>
        <p:spPr>
          <a:xfrm>
            <a:off x="1157353" y="1666632"/>
            <a:ext cx="30552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400" b="1" dirty="0"/>
              <a:t>¿Qué es Ariba Sourcing?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975924" y="2608780"/>
            <a:ext cx="341811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dirty="0"/>
              <a:t>Es un portal Web que sirve de </a:t>
            </a:r>
            <a:r>
              <a:rPr lang="es-ES" dirty="0"/>
              <a:t>soporte tecnológico para el proceso de </a:t>
            </a:r>
            <a:r>
              <a:rPr lang="es-ES" b="1" dirty="0"/>
              <a:t>Abastecimiento Estratégico </a:t>
            </a:r>
            <a:r>
              <a:rPr lang="es-ES" dirty="0"/>
              <a:t>que </a:t>
            </a:r>
            <a:endParaRPr lang="es-PE" dirty="0"/>
          </a:p>
          <a:p>
            <a:pPr algn="ctr"/>
            <a:r>
              <a:rPr lang="es-ES" dirty="0"/>
              <a:t>asegure trazabilidad y transparencia en la gestión con proveedores desde la planificación, hasta la selección de la mejor propuesta</a:t>
            </a:r>
            <a:endParaRPr lang="es-PE" dirty="0"/>
          </a:p>
        </p:txBody>
      </p:sp>
      <p:sp>
        <p:nvSpPr>
          <p:cNvPr id="10" name="Cruz 9"/>
          <p:cNvSpPr/>
          <p:nvPr/>
        </p:nvSpPr>
        <p:spPr>
          <a:xfrm>
            <a:off x="6739459" y="2870499"/>
            <a:ext cx="234156" cy="227196"/>
          </a:xfrm>
          <a:prstGeom prst="plus">
            <a:avLst>
              <a:gd name="adj" fmla="val 33815"/>
            </a:avLst>
          </a:prstGeom>
          <a:solidFill>
            <a:srgbClr val="001F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Flecha derecha 12"/>
          <p:cNvSpPr/>
          <p:nvPr/>
        </p:nvSpPr>
        <p:spPr>
          <a:xfrm>
            <a:off x="4995081" y="3230806"/>
            <a:ext cx="523814" cy="477672"/>
          </a:xfrm>
          <a:prstGeom prst="rightArrow">
            <a:avLst/>
          </a:prstGeom>
          <a:solidFill>
            <a:srgbClr val="001F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redondeado 14"/>
          <p:cNvSpPr/>
          <p:nvPr/>
        </p:nvSpPr>
        <p:spPr>
          <a:xfrm>
            <a:off x="8476775" y="1331694"/>
            <a:ext cx="3166280" cy="1442933"/>
          </a:xfrm>
          <a:prstGeom prst="roundRect">
            <a:avLst/>
          </a:prstGeom>
          <a:noFill/>
          <a:ln>
            <a:solidFill>
              <a:srgbClr val="001F5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tx1"/>
                </a:solidFill>
              </a:rPr>
              <a:t> </a:t>
            </a:r>
          </a:p>
          <a:p>
            <a:pPr algn="ctr"/>
            <a:endParaRPr lang="es-PE" dirty="0">
              <a:solidFill>
                <a:schemeClr val="tx1"/>
              </a:solidFill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8476775" y="3016772"/>
            <a:ext cx="3166280" cy="1521114"/>
          </a:xfrm>
          <a:prstGeom prst="roundRect">
            <a:avLst/>
          </a:prstGeom>
          <a:noFill/>
          <a:ln>
            <a:solidFill>
              <a:srgbClr val="001F5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Rectángulo redondeado 16"/>
          <p:cNvSpPr/>
          <p:nvPr/>
        </p:nvSpPr>
        <p:spPr>
          <a:xfrm>
            <a:off x="8476775" y="4882923"/>
            <a:ext cx="3166280" cy="1197532"/>
          </a:xfrm>
          <a:prstGeom prst="roundRect">
            <a:avLst/>
          </a:prstGeom>
          <a:noFill/>
          <a:ln>
            <a:solidFill>
              <a:srgbClr val="001F5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8" name="CuadroTexto 17"/>
          <p:cNvSpPr txBox="1"/>
          <p:nvPr/>
        </p:nvSpPr>
        <p:spPr>
          <a:xfrm>
            <a:off x="8563265" y="1389632"/>
            <a:ext cx="31126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/>
              <a:t>(Requerimiento de Información) donde el comprador busca recoger propuestas cualitativas del mercado respecto de cómo abordar una necesidad ya sea de un bien, servicio o combinación de ambos.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8563265" y="3146127"/>
            <a:ext cx="31662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/>
              <a:t>(Requerimiento de Propuesta) Proceso de licitación en el cual el comprador busca recoger propuestas cuantitativas desde diferentes proveedores especializados para satisfacer una necesidad específica.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8563265" y="4995284"/>
            <a:ext cx="3166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/>
              <a:t>Compra organizada de un bien o servicio en un periodo corto de tiempo, mediante pujas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1659451" y="5404724"/>
            <a:ext cx="2051058" cy="1168539"/>
          </a:xfrm>
          <a:prstGeom prst="wedgeEllipseCallout">
            <a:avLst>
              <a:gd name="adj1" fmla="val -64239"/>
              <a:gd name="adj2" fmla="val 27722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¿Qué deberías saber?</a:t>
            </a:r>
          </a:p>
        </p:txBody>
      </p:sp>
      <p:grpSp>
        <p:nvGrpSpPr>
          <p:cNvPr id="11" name="Grupo 10"/>
          <p:cNvGrpSpPr/>
          <p:nvPr/>
        </p:nvGrpSpPr>
        <p:grpSpPr>
          <a:xfrm>
            <a:off x="-364677" y="4813070"/>
            <a:ext cx="2357232" cy="3892004"/>
            <a:chOff x="-364677" y="4813070"/>
            <a:chExt cx="2357232" cy="3892004"/>
          </a:xfrm>
        </p:grpSpPr>
        <p:pic>
          <p:nvPicPr>
            <p:cNvPr id="22" name="Picture 4" descr="Imagen relacionada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64677" y="4813070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297168" y="5713674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58856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redondeado 5"/>
          <p:cNvSpPr/>
          <p:nvPr/>
        </p:nvSpPr>
        <p:spPr bwMode="auto">
          <a:xfrm>
            <a:off x="4760686" y="986971"/>
            <a:ext cx="6981372" cy="4804229"/>
          </a:xfrm>
          <a:prstGeom prst="roundRect">
            <a:avLst>
              <a:gd name="adj" fmla="val 7604"/>
            </a:avLst>
          </a:prstGeom>
          <a:solidFill>
            <a:srgbClr val="EDF2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5. Respuestas rápidas</a:t>
            </a:r>
          </a:p>
        </p:txBody>
      </p:sp>
      <p:sp>
        <p:nvSpPr>
          <p:cNvPr id="3" name="Llamada rectangular redondeada 2"/>
          <p:cNvSpPr/>
          <p:nvPr/>
        </p:nvSpPr>
        <p:spPr bwMode="auto">
          <a:xfrm>
            <a:off x="1219201" y="986971"/>
            <a:ext cx="3323772" cy="1425923"/>
          </a:xfrm>
          <a:prstGeom prst="wedgeRoundRectCallout">
            <a:avLst>
              <a:gd name="adj1" fmla="val -34659"/>
              <a:gd name="adj2" fmla="val 69728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PE" sz="1600" b="1" dirty="0">
                <a:latin typeface="Arial" charset="0"/>
              </a:rPr>
              <a:t>Extrajimos información del Centro de Ayuda de Ariba Sourcing para ti, accede a los videos y entrenamientos. CAPACÍTATE!!! </a:t>
            </a:r>
          </a:p>
        </p:txBody>
      </p:sp>
      <p:pic>
        <p:nvPicPr>
          <p:cNvPr id="4" name="Picture 4" descr="Imagen relacionada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3562"/>
          <a:stretch/>
        </p:blipFill>
        <p:spPr bwMode="auto">
          <a:xfrm flipH="1">
            <a:off x="-43535" y="2693434"/>
            <a:ext cx="2510539" cy="403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arcador de contenido 2"/>
          <p:cNvSpPr txBox="1">
            <a:spLocks/>
          </p:cNvSpPr>
          <p:nvPr/>
        </p:nvSpPr>
        <p:spPr>
          <a:xfrm>
            <a:off x="5196113" y="1267511"/>
            <a:ext cx="6545945" cy="4625289"/>
          </a:xfrm>
          <a:prstGeom prst="rect">
            <a:avLst/>
          </a:prstGeom>
        </p:spPr>
        <p:txBody>
          <a:bodyPr/>
          <a:lstStyle>
            <a:lvl1pPr marL="345611" indent="-345611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208" indent="-193610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60772" indent="-264012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9221" indent="-156812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52025" indent="-131204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12844" indent="-131204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73656" indent="-131204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34476" indent="-131204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95292" indent="-131204" algn="l" defTabSz="90242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s-PE" kern="0" dirty="0"/>
              <a:t>Aspectos básicos para el proveedor (Video)</a:t>
            </a:r>
          </a:p>
          <a:p>
            <a:r>
              <a:rPr lang="es-PE" kern="0" dirty="0">
                <a:hlinkClick r:id="rId3"/>
              </a:rPr>
              <a:t>https://uex.ariba.com/auc/node/100349</a:t>
            </a:r>
            <a:r>
              <a:rPr lang="es-PE" kern="0" dirty="0"/>
              <a:t> </a:t>
            </a:r>
          </a:p>
          <a:p>
            <a:endParaRPr lang="es-PE" kern="0" dirty="0"/>
          </a:p>
          <a:p>
            <a:r>
              <a:rPr lang="es-PE" kern="0" dirty="0"/>
              <a:t>Participación en Eventos (Video)</a:t>
            </a:r>
          </a:p>
          <a:p>
            <a:r>
              <a:rPr lang="es-PE" kern="0" dirty="0">
                <a:hlinkClick r:id="rId4"/>
              </a:rPr>
              <a:t>https://uex.ariba.com/auc/node/100351</a:t>
            </a:r>
            <a:r>
              <a:rPr lang="es-PE" kern="0" dirty="0"/>
              <a:t> </a:t>
            </a:r>
          </a:p>
          <a:p>
            <a:endParaRPr lang="es-PE" kern="0" dirty="0"/>
          </a:p>
          <a:p>
            <a:r>
              <a:rPr lang="es-PE" dirty="0"/>
              <a:t>Como contestar un RFI (Video)</a:t>
            </a:r>
          </a:p>
          <a:p>
            <a:r>
              <a:rPr lang="es-PE" u="sng" dirty="0">
                <a:hlinkClick r:id="rId5"/>
              </a:rPr>
              <a:t>https://uex.ariba.com/auc/node/100352</a:t>
            </a:r>
            <a:endParaRPr lang="es-PE" dirty="0"/>
          </a:p>
          <a:p>
            <a:endParaRPr lang="es-PE" kern="0" dirty="0"/>
          </a:p>
          <a:p>
            <a:r>
              <a:rPr lang="es-PE" kern="0" dirty="0"/>
              <a:t>Como contestar un RFP (Video)</a:t>
            </a:r>
          </a:p>
          <a:p>
            <a:r>
              <a:rPr lang="es-PE" u="sng" kern="0" dirty="0">
                <a:hlinkClick r:id="rId6"/>
              </a:rPr>
              <a:t>https://uex.ariba.com/auc/node/100353</a:t>
            </a:r>
            <a:endParaRPr lang="es-PE" u="sng" kern="0" dirty="0"/>
          </a:p>
          <a:p>
            <a:endParaRPr lang="es-PE" dirty="0"/>
          </a:p>
          <a:p>
            <a:r>
              <a:rPr lang="es-PE" dirty="0"/>
              <a:t>Como participar de una Subasta (Video) </a:t>
            </a:r>
          </a:p>
          <a:p>
            <a:r>
              <a:rPr lang="es-PE" u="sng" dirty="0">
                <a:hlinkClick r:id="rId7"/>
              </a:rPr>
              <a:t>https://uex.ariba.com/auc/node/100354</a:t>
            </a:r>
            <a:endParaRPr lang="es-PE" u="sng" dirty="0"/>
          </a:p>
          <a:p>
            <a:endParaRPr lang="es-PE" u="sng" dirty="0"/>
          </a:p>
          <a:p>
            <a:r>
              <a:rPr lang="es-PE" dirty="0"/>
              <a:t>Entrenamientos con una sesión en vivo de preguntas y respuestas</a:t>
            </a:r>
          </a:p>
          <a:p>
            <a:r>
              <a:rPr lang="es-PE" kern="0" dirty="0">
                <a:hlinkClick r:id="rId8"/>
              </a:rPr>
              <a:t>https://uex.ariba.com/auc/node/81137</a:t>
            </a:r>
            <a:r>
              <a:rPr lang="es-PE" kern="0" dirty="0"/>
              <a:t> </a:t>
            </a:r>
          </a:p>
        </p:txBody>
      </p:sp>
      <p:pic>
        <p:nvPicPr>
          <p:cNvPr id="7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702430" y="3580155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9520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486" y="395363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465131" y="3252630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542" y="2570120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244446" y="3477224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270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3"/>
          <p:cNvSpPr/>
          <p:nvPr/>
        </p:nvSpPr>
        <p:spPr>
          <a:xfrm>
            <a:off x="384629" y="960457"/>
            <a:ext cx="11422742" cy="5107073"/>
          </a:xfrm>
          <a:prstGeom prst="roundRect">
            <a:avLst>
              <a:gd name="adj" fmla="val 700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Lineamientos del GRUPO GLORIA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09600" y="1395327"/>
            <a:ext cx="10972800" cy="4992076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Toda gestión e intercambio de información del proceso de licitación será realizada en  Ariba Sourcing.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Toda licitación de compras tiene hasta tres rondas para RFI y RFP. 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En caso de Subasta se comunicará a los participantes desde el lanzamiento de RFP y debe tener como predecesor a un RFI.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El proceso de evaluación y selección se realiza mediante una matriz de evaluación de ofertas (económica, técnica y otros criterios) con ponderación de criterios en Ariba Sourcing.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Al finalizar la licitación se comunicará a todos los participantes si fueron adjudicados o no por correo electrónico a través de ARIBA Sourcing.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s-PE" dirty="0"/>
              <a:t>Al finalizar la licitación se generará un Contrato Legal.</a:t>
            </a:r>
          </a:p>
          <a:p>
            <a:pPr marL="196760" lvl="2" indent="0" algn="just">
              <a:buNone/>
            </a:pPr>
            <a:endParaRPr lang="es-PE" dirty="0"/>
          </a:p>
          <a:p>
            <a:pPr marL="0" indent="0" algn="just">
              <a:buNone/>
            </a:pPr>
            <a:r>
              <a:rPr lang="es-PE" dirty="0"/>
              <a:t>7. Toda comunicación sobre la Licitación a la que se les invitará será tratada con el Líder de la Categoría. </a:t>
            </a:r>
          </a:p>
          <a:p>
            <a:pPr algn="just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22517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486" y="395363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465131" y="3252630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542" y="2570120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0842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244446" y="3477224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003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Imagen relacionad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163" y="1233713"/>
            <a:ext cx="8858323" cy="5314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1411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108735" y="1990667"/>
            <a:ext cx="8713252" cy="1247204"/>
          </a:xfrm>
        </p:spPr>
        <p:txBody>
          <a:bodyPr/>
          <a:lstStyle/>
          <a:p>
            <a:endParaRPr lang="es-PE" sz="3600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7E6EB-3F0B-4B10-AE2E-99D1F13A7F16}" type="slidenum">
              <a:rPr lang="es-PE" smtClean="0"/>
              <a:t>45</a:t>
            </a:fld>
            <a:endParaRPr lang="es-PE"/>
          </a:p>
        </p:txBody>
      </p:sp>
      <p:sp>
        <p:nvSpPr>
          <p:cNvPr id="5" name="Rectángulo 4"/>
          <p:cNvSpPr/>
          <p:nvPr/>
        </p:nvSpPr>
        <p:spPr>
          <a:xfrm>
            <a:off x="3459555" y="892611"/>
            <a:ext cx="42114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b="1" dirty="0"/>
              <a:t>http://grupogloria.supplier.ariba.com</a:t>
            </a:r>
          </a:p>
        </p:txBody>
      </p:sp>
      <p:sp>
        <p:nvSpPr>
          <p:cNvPr id="6" name="Rectángulo 5"/>
          <p:cNvSpPr/>
          <p:nvPr/>
        </p:nvSpPr>
        <p:spPr>
          <a:xfrm>
            <a:off x="4267199" y="3781929"/>
            <a:ext cx="41417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b="1" dirty="0"/>
              <a:t>http://grupogloria.supplier.ariba.com</a:t>
            </a:r>
          </a:p>
        </p:txBody>
      </p:sp>
    </p:spTree>
    <p:extLst>
      <p:ext uri="{BB962C8B-B14F-4D97-AF65-F5344CB8AC3E}">
        <p14:creationId xmlns:p14="http://schemas.microsoft.com/office/powerpoint/2010/main" val="365387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3486" y="395363"/>
            <a:ext cx="10972800" cy="981163"/>
          </a:xfrm>
        </p:spPr>
        <p:txBody>
          <a:bodyPr/>
          <a:lstStyle/>
          <a:p>
            <a:r>
              <a:rPr lang="es-ES" dirty="0"/>
              <a:t>Agend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3262928" y="2475912"/>
            <a:ext cx="2357232" cy="822305"/>
          </a:xfrm>
          <a:prstGeom prst="wedgeEllipseCallout">
            <a:avLst>
              <a:gd name="adj1" fmla="val -51937"/>
              <a:gd name="adj2" fmla="val 51190"/>
            </a:avLst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Revisemos la agenda</a:t>
            </a:r>
          </a:p>
        </p:txBody>
      </p:sp>
      <p:pic>
        <p:nvPicPr>
          <p:cNvPr id="7" name="Picture 4" descr="Imagen relacionad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339" y="1793402"/>
            <a:ext cx="2357232" cy="389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a 7"/>
          <p:cNvGraphicFramePr/>
          <p:nvPr/>
        </p:nvGraphicFramePr>
        <p:xfrm>
          <a:off x="5362720" y="865442"/>
          <a:ext cx="5587212" cy="5596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10" descr="Imagen relacionad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7" b="30993"/>
          <a:stretch/>
        </p:blipFill>
        <p:spPr bwMode="auto">
          <a:xfrm>
            <a:off x="2027184" y="2684464"/>
            <a:ext cx="1033541" cy="3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ángulo 8"/>
          <p:cNvSpPr/>
          <p:nvPr/>
        </p:nvSpPr>
        <p:spPr>
          <a:xfrm>
            <a:off x="669949" y="5779116"/>
            <a:ext cx="42710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s-PE" u="sng" dirty="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0"/>
              </a:rPr>
              <a:t>http://videoscomunicacion.tentu.com/Gloria_2D_FINAL_de_finales_v2.mp4</a:t>
            </a:r>
            <a:endParaRPr lang="es-PE" dirty="0">
              <a:solidFill>
                <a:schemeClr val="tx2">
                  <a:lumMod val="75000"/>
                  <a:lumOff val="2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611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vitación a participar en evento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2215" y="1947126"/>
            <a:ext cx="5853025" cy="1247204"/>
          </a:xfrm>
        </p:spPr>
        <p:txBody>
          <a:bodyPr/>
          <a:lstStyle/>
          <a:p>
            <a:endParaRPr lang="es-P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092AE3-67E4-1F41-B0EB-AF4C880F3D5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02" y="653197"/>
            <a:ext cx="6843800" cy="5798515"/>
          </a:xfrm>
          <a:prstGeom prst="rect">
            <a:avLst/>
          </a:prstGeom>
        </p:spPr>
      </p:pic>
      <p:sp>
        <p:nvSpPr>
          <p:cNvPr id="5" name="11 Rectángulo">
            <a:extLst>
              <a:ext uri="{FF2B5EF4-FFF2-40B4-BE49-F238E27FC236}">
                <a16:creationId xmlns:a16="http://schemas.microsoft.com/office/drawing/2014/main" id="{14F6D3A4-37AA-45D5-B004-CC4D45A7316E}"/>
              </a:ext>
            </a:extLst>
          </p:cNvPr>
          <p:cNvSpPr/>
          <p:nvPr/>
        </p:nvSpPr>
        <p:spPr>
          <a:xfrm>
            <a:off x="934339" y="2595391"/>
            <a:ext cx="6351834" cy="768396"/>
          </a:xfrm>
          <a:prstGeom prst="rect">
            <a:avLst/>
          </a:prstGeom>
          <a:solidFill>
            <a:schemeClr val="accent1">
              <a:alpha val="1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dirty="0"/>
          </a:p>
        </p:txBody>
      </p:sp>
      <p:sp>
        <p:nvSpPr>
          <p:cNvPr id="6" name="Callout: Line 16">
            <a:extLst>
              <a:ext uri="{FF2B5EF4-FFF2-40B4-BE49-F238E27FC236}">
                <a16:creationId xmlns:a16="http://schemas.microsoft.com/office/drawing/2014/main" id="{9D02755D-C5ED-47F0-9F2F-CA5AF66872BC}"/>
              </a:ext>
            </a:extLst>
          </p:cNvPr>
          <p:cNvSpPr/>
          <p:nvPr/>
        </p:nvSpPr>
        <p:spPr>
          <a:xfrm>
            <a:off x="7740789" y="2767585"/>
            <a:ext cx="1596053" cy="506710"/>
          </a:xfrm>
          <a:prstGeom prst="borderCallout1">
            <a:avLst>
              <a:gd name="adj1" fmla="val 52864"/>
              <a:gd name="adj2" fmla="val -933"/>
              <a:gd name="adj3" fmla="val 51764"/>
              <a:gd name="adj4" fmla="val -24700"/>
            </a:avLst>
          </a:prstGeom>
          <a:solidFill>
            <a:schemeClr val="bg1"/>
          </a:solidFill>
          <a:ln w="19050">
            <a:solidFill>
              <a:srgbClr val="C000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aga clic en el link para acceder al evento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7887621" y="527283"/>
            <a:ext cx="3730172" cy="1861006"/>
          </a:xfrm>
          <a:prstGeom prst="wedgeEllipseCallout">
            <a:avLst>
              <a:gd name="adj1" fmla="val 24925"/>
              <a:gd name="adj2" fmla="val 60016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/>
              <a:t>Usted recibirá una invitación para </a:t>
            </a:r>
            <a:r>
              <a:rPr lang="es-PE" sz="1600" b="1" dirty="0">
                <a:solidFill>
                  <a:srgbClr val="00B050"/>
                </a:solidFill>
              </a:rPr>
              <a:t>PARTICIPAR A UN EVENTO </a:t>
            </a:r>
            <a:r>
              <a:rPr lang="es-PE" sz="1600" b="1" dirty="0"/>
              <a:t>a su correo electrónico</a:t>
            </a:r>
          </a:p>
        </p:txBody>
      </p:sp>
      <p:grpSp>
        <p:nvGrpSpPr>
          <p:cNvPr id="10" name="Grupo 9"/>
          <p:cNvGrpSpPr/>
          <p:nvPr/>
        </p:nvGrpSpPr>
        <p:grpSpPr>
          <a:xfrm>
            <a:off x="9898743" y="2747162"/>
            <a:ext cx="2357232" cy="3892004"/>
            <a:chOff x="9898743" y="2747162"/>
            <a:chExt cx="2357232" cy="3892004"/>
          </a:xfrm>
        </p:grpSpPr>
        <p:pic>
          <p:nvPicPr>
            <p:cNvPr id="8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8743" y="2747162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10584252" y="3654645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6641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ompleta tu perfil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-533" t="8482" r="-1" b="5406"/>
          <a:stretch/>
        </p:blipFill>
        <p:spPr>
          <a:xfrm>
            <a:off x="0" y="704704"/>
            <a:ext cx="12138609" cy="5845591"/>
          </a:xfrm>
          <a:prstGeom prst="rect">
            <a:avLst/>
          </a:prstGeom>
        </p:spPr>
      </p:pic>
      <p:sp>
        <p:nvSpPr>
          <p:cNvPr id="6" name="Llamada rectangular redondeada 5"/>
          <p:cNvSpPr/>
          <p:nvPr/>
        </p:nvSpPr>
        <p:spPr bwMode="auto">
          <a:xfrm>
            <a:off x="5731312" y="2578114"/>
            <a:ext cx="2155610" cy="600131"/>
          </a:xfrm>
          <a:prstGeom prst="wedgeRoundRectCallout">
            <a:avLst>
              <a:gd name="adj1" fmla="val -59015"/>
              <a:gd name="adj2" fmla="val -56413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Haga clic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ángulo 6"/>
          <p:cNvSpPr/>
          <p:nvPr/>
        </p:nvSpPr>
        <p:spPr bwMode="auto">
          <a:xfrm>
            <a:off x="4417678" y="2372085"/>
            <a:ext cx="1027779" cy="412058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ángulo 7"/>
          <p:cNvSpPr/>
          <p:nvPr/>
        </p:nvSpPr>
        <p:spPr bwMode="auto">
          <a:xfrm>
            <a:off x="9983720" y="615993"/>
            <a:ext cx="2183731" cy="594000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Llamada rectangular redondeada 8"/>
          <p:cNvSpPr/>
          <p:nvPr/>
        </p:nvSpPr>
        <p:spPr bwMode="auto">
          <a:xfrm>
            <a:off x="7262890" y="4673600"/>
            <a:ext cx="2509379" cy="1100605"/>
          </a:xfrm>
          <a:prstGeom prst="wedgeRoundRectCallout">
            <a:avLst>
              <a:gd name="adj1" fmla="val -46547"/>
              <a:gd name="adj2" fmla="val 72183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sz="16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n todo momentos</a:t>
            </a:r>
            <a:r>
              <a:rPr kumimoji="0" lang="es-PE" sz="160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el Centro de ayuda puede aclarar tus consultas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Flecha derecha 3"/>
          <p:cNvSpPr/>
          <p:nvPr/>
        </p:nvSpPr>
        <p:spPr bwMode="auto">
          <a:xfrm>
            <a:off x="9071429" y="5439274"/>
            <a:ext cx="548693" cy="334931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5370631" y="4933616"/>
            <a:ext cx="2357232" cy="3892004"/>
            <a:chOff x="5370631" y="4933616"/>
            <a:chExt cx="2357232" cy="3892004"/>
          </a:xfrm>
        </p:grpSpPr>
        <p:pic>
          <p:nvPicPr>
            <p:cNvPr id="10" name="Picture 4" descr="Imagen relacionada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0631" y="4933616"/>
              <a:ext cx="2357232" cy="38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Imagen relacionada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907" b="30993"/>
            <a:stretch/>
          </p:blipFill>
          <p:spPr bwMode="auto">
            <a:xfrm>
              <a:off x="6017898" y="5815149"/>
              <a:ext cx="1033541" cy="373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6747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ompleta la información de tu empresa  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t="8385" b="5407"/>
          <a:stretch/>
        </p:blipFill>
        <p:spPr>
          <a:xfrm>
            <a:off x="91525" y="657912"/>
            <a:ext cx="12100475" cy="5901258"/>
          </a:xfrm>
          <a:prstGeom prst="rect">
            <a:avLst/>
          </a:prstGeom>
        </p:spPr>
      </p:pic>
      <p:sp>
        <p:nvSpPr>
          <p:cNvPr id="5" name="Llamada rectangular redondeada 4"/>
          <p:cNvSpPr/>
          <p:nvPr/>
        </p:nvSpPr>
        <p:spPr bwMode="auto">
          <a:xfrm>
            <a:off x="5944762" y="2125327"/>
            <a:ext cx="2710571" cy="977888"/>
          </a:xfrm>
          <a:prstGeom prst="wedgeRoundRectCallout">
            <a:avLst>
              <a:gd name="adj1" fmla="val -56995"/>
              <a:gd name="adj2" fmla="val 30654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1600" dirty="0">
                <a:latin typeface="Arial" charset="0"/>
              </a:rPr>
              <a:t>Complete información de empresa, los campos con * son obligatorios.</a:t>
            </a:r>
            <a:endParaRPr kumimoji="0" lang="es-PE" sz="16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ángulo 5"/>
          <p:cNvSpPr/>
          <p:nvPr/>
        </p:nvSpPr>
        <p:spPr bwMode="auto">
          <a:xfrm>
            <a:off x="662579" y="2878178"/>
            <a:ext cx="4867364" cy="3203307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2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7285C-4B92-E745-AFE5-F92EB0EAB47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/>
          <a:srcRect l="6250" t="-25" r="3542" b="9054"/>
          <a:stretch/>
        </p:blipFill>
        <p:spPr>
          <a:xfrm>
            <a:off x="525784" y="234892"/>
            <a:ext cx="10998200" cy="6235700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 bwMode="auto">
          <a:xfrm>
            <a:off x="9722757" y="2463800"/>
            <a:ext cx="1491343" cy="506185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3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6.71232075450390030000E+000&quot;&gt;&lt;m_msothmcolidx val=&quot;0&quot;/&gt;&lt;m_rgb r=&quot;FB&quot; g=&quot;48&quot; b=&quot;1C&quot;/&gt;&lt;m_nBrightness val=&quot;0&quot;/&gt;&lt;/elem&gt;&lt;elem m_fUsage=&quot;1.22876792454961010000E+000&quot;&gt;&lt;m_msothmcolidx val=&quot;0&quot;/&gt;&lt;m_rgb r=&quot;FE&quot; g=&quot;95&quot; b=&quot;76&quot;/&gt;&lt;m_nBrightness val=&quot;0&quot;/&gt;&lt;/elem&gt;&lt;elem m_fUsage=&quot;8.14626794334367470000E-001&quot;&gt;&lt;m_msothmcolidx val=&quot;0&quot;/&gt;&lt;m_rgb r=&quot;00&quot; g=&quot;B0&quot; b=&quot;F0&quot;/&gt;&lt;m_nBrightness val=&quot;0&quot;/&gt;&lt;/elem&gt;&lt;elem m_fUsage=&quot;1.50094635296999210000E-001&quot;&gt;&lt;m_msothmcolidx val=&quot;0&quot;/&gt;&lt;m_rgb r=&quot;B7&quot; g=&quot;1C&quot; b=&quot;1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PTSzXAf0y2QeCL_j03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7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9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lank">
  <a:themeElements>
    <a:clrScheme name="blank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95B1CF"/>
      </a:accent2>
      <a:accent3>
        <a:srgbClr val="FFFFFF"/>
      </a:accent3>
      <a:accent4>
        <a:srgbClr val="000000"/>
      </a:accent4>
      <a:accent5>
        <a:srgbClr val="EBEBEB"/>
      </a:accent5>
      <a:accent6>
        <a:srgbClr val="87A0BB"/>
      </a:accent6>
      <a:hlink>
        <a:srgbClr val="5B8EC5"/>
      </a:hlink>
      <a:folHlink>
        <a:srgbClr val="CC00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95B1C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A0BB"/>
        </a:accent6>
        <a:hlink>
          <a:srgbClr val="5B8EC5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FF2C26D39EDE44C98A2DFDD72C6610B" ma:contentTypeVersion="2" ma:contentTypeDescription="Crear nuevo documento." ma:contentTypeScope="" ma:versionID="7fb3a3c56200bf3ebc7b46e928b76508">
  <xsd:schema xmlns:xsd="http://www.w3.org/2001/XMLSchema" xmlns:xs="http://www.w3.org/2001/XMLSchema" xmlns:p="http://schemas.microsoft.com/office/2006/metadata/properties" xmlns:ns2="2f91e333-1a42-467c-b798-057e602cab7e" targetNamespace="http://schemas.microsoft.com/office/2006/metadata/properties" ma:root="true" ma:fieldsID="577273a36e7573e7b6740463de00c460" ns2:_="">
    <xsd:import namespace="2f91e333-1a42-467c-b798-057e602cab7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1e333-1a42-467c-b798-057e602cab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9EAB28-D8F7-47CC-8953-0C39E9380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91e333-1a42-467c-b798-057e602cab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260412-9F5B-4EAE-8856-6BA9EAE1BF18}">
  <ds:schemaRefs>
    <ds:schemaRef ds:uri="http://schemas.openxmlformats.org/package/2006/metadata/core-properties"/>
    <ds:schemaRef ds:uri="2f91e333-1a42-467c-b798-057e602cab7e"/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84BA9E6-26B1-4B2C-95A1-F473C73BA3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841</TotalTime>
  <Words>1709</Words>
  <Application>Microsoft Office PowerPoint</Application>
  <PresentationFormat>Panorámica</PresentationFormat>
  <Paragraphs>247</Paragraphs>
  <Slides>45</Slides>
  <Notes>9</Notes>
  <HiddenSlides>1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5</vt:i4>
      </vt:variant>
    </vt:vector>
  </HeadingPairs>
  <TitlesOfParts>
    <vt:vector size="60" baseType="lpstr">
      <vt:lpstr>Arial</vt:lpstr>
      <vt:lpstr>Calibri</vt:lpstr>
      <vt:lpstr>Franklin Gothic Demi Cond</vt:lpstr>
      <vt:lpstr>Segoe UI</vt:lpstr>
      <vt:lpstr>Times New Roman</vt:lpstr>
      <vt:lpstr>Wingdings</vt:lpstr>
      <vt:lpstr>Custom Design</vt:lpstr>
      <vt:lpstr>6_blank</vt:lpstr>
      <vt:lpstr>8_blank</vt:lpstr>
      <vt:lpstr>7_blank</vt:lpstr>
      <vt:lpstr>3_blank</vt:lpstr>
      <vt:lpstr>9_blank</vt:lpstr>
      <vt:lpstr>10_blank</vt:lpstr>
      <vt:lpstr>4_blank</vt:lpstr>
      <vt:lpstr>Diapositiva de think-cell</vt:lpstr>
      <vt:lpstr>Capacitación a Proveedores   </vt:lpstr>
      <vt:lpstr>Presentación de PowerPoint</vt:lpstr>
      <vt:lpstr>Agenda</vt:lpstr>
      <vt:lpstr>Presentación de PowerPoint</vt:lpstr>
      <vt:lpstr>Agenda</vt:lpstr>
      <vt:lpstr>Invitación a participar en evento </vt:lpstr>
      <vt:lpstr>Completa tu perfil </vt:lpstr>
      <vt:lpstr>Completa la información de tu empresa  </vt:lpstr>
      <vt:lpstr>Presentación de PowerPoint</vt:lpstr>
      <vt:lpstr>Presentación de PowerPoint</vt:lpstr>
      <vt:lpstr>Completa información de usuario</vt:lpstr>
      <vt:lpstr>Presentación de PowerPoint</vt:lpstr>
      <vt:lpstr>Pantalla de inicio</vt:lpstr>
      <vt:lpstr>Detalles del evento </vt:lpstr>
      <vt:lpstr>1. Revisar detalles del evento</vt:lpstr>
      <vt:lpstr>2. Revisar y Aceptar Pre Requisitos </vt:lpstr>
      <vt:lpstr>2. En caso de RFP – Selecciona lotes</vt:lpstr>
      <vt:lpstr>3. Enviar respuestas del RFP (1/7)</vt:lpstr>
      <vt:lpstr>3. Enviar respuestas del RFP (2/7)</vt:lpstr>
      <vt:lpstr>3. Enviar respuestas del RFP (3/7)</vt:lpstr>
      <vt:lpstr>3. Enviar respuestas del RFP (4/7)</vt:lpstr>
      <vt:lpstr>3. Enviar respuestas del RFP (5/7)</vt:lpstr>
      <vt:lpstr>3. Enviar respuestas del RFP (6/7)</vt:lpstr>
      <vt:lpstr>3. Enviar respuestas del RFP (7/7)</vt:lpstr>
      <vt:lpstr>3. Enviar respuestas del RFP (7/7)</vt:lpstr>
      <vt:lpstr>Presentación de PowerPoint</vt:lpstr>
      <vt:lpstr>Seguimiento del estado del evento </vt:lpstr>
      <vt:lpstr>Agenda</vt:lpstr>
      <vt:lpstr>Mensajería de Ariba Sourcing</vt:lpstr>
      <vt:lpstr>Mensajes de Ariba Sourcing </vt:lpstr>
      <vt:lpstr>Mensajes de Evento </vt:lpstr>
      <vt:lpstr>Agenda</vt:lpstr>
      <vt:lpstr>1. Centro de Ayuda</vt:lpstr>
      <vt:lpstr>2. User Community</vt:lpstr>
      <vt:lpstr>3. Centro de Aprendizaje</vt:lpstr>
      <vt:lpstr>4. Centro de Asistencia (1/4)</vt:lpstr>
      <vt:lpstr>4. Centro de Asistencia (2/4)</vt:lpstr>
      <vt:lpstr>4. Centro de Asistencia (3/4)</vt:lpstr>
      <vt:lpstr>4. Centro de Asistencia (4/4)</vt:lpstr>
      <vt:lpstr>5. Respuestas rápidas</vt:lpstr>
      <vt:lpstr>Agenda</vt:lpstr>
      <vt:lpstr>Lineamientos del GRUPO GLORIA</vt:lpstr>
      <vt:lpstr>Agenda</vt:lpstr>
      <vt:lpstr>Presentación de PowerPoint</vt:lpstr>
      <vt:lpstr>Presentación de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ivas Partners - Presentacion General y Credenciales</dc:title>
  <dc:creator>Fiorelli Arce</dc:creator>
  <cp:lastModifiedBy>Aroco Martinez, Nury (Cartavio S.A.A)</cp:lastModifiedBy>
  <cp:revision>2263</cp:revision>
  <cp:lastPrinted>2016-04-06T18:53:17Z</cp:lastPrinted>
  <dcterms:created xsi:type="dcterms:W3CDTF">2012-09-07T17:04:10Z</dcterms:created>
  <dcterms:modified xsi:type="dcterms:W3CDTF">2023-02-03T13:3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F2C26D39EDE44C98A2DFDD72C6610B</vt:lpwstr>
  </property>
</Properties>
</file>